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heme/themeOverride2.xml" ContentType="application/vnd.openxmlformats-officedocument.themeOverr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</p:sldMasterIdLst>
  <p:notesMasterIdLst>
    <p:notesMasterId r:id="rId18"/>
  </p:notesMasterIdLst>
  <p:handoutMasterIdLst>
    <p:handoutMasterId r:id="rId19"/>
  </p:handoutMasterIdLst>
  <p:sldIdLst>
    <p:sldId id="8825" r:id="rId5"/>
    <p:sldId id="297" r:id="rId6"/>
    <p:sldId id="298" r:id="rId7"/>
    <p:sldId id="299" r:id="rId8"/>
    <p:sldId id="300" r:id="rId9"/>
    <p:sldId id="301" r:id="rId10"/>
    <p:sldId id="302" r:id="rId11"/>
    <p:sldId id="303" r:id="rId12"/>
    <p:sldId id="304" r:id="rId13"/>
    <p:sldId id="1579" r:id="rId14"/>
    <p:sldId id="1583" r:id="rId15"/>
    <p:sldId id="1584" r:id="rId16"/>
    <p:sldId id="8865" r:id="rId17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2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C811"/>
    <a:srgbClr val="F2C812"/>
    <a:srgbClr val="EDC30D"/>
    <a:srgbClr val="494949"/>
    <a:srgbClr val="FFC000"/>
    <a:srgbClr val="DEEBF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14A1DB1-3D01-4041-933A-E3DE4782644C}" v="14" dt="2019-11-08T18:10:42.465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1504" autoAdjust="0"/>
  </p:normalViewPr>
  <p:slideViewPr>
    <p:cSldViewPr snapToGrid="0">
      <p:cViewPr varScale="1">
        <p:scale>
          <a:sx n="81" d="100"/>
          <a:sy n="81" d="100"/>
        </p:scale>
        <p:origin x="76" y="2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E2D5F16-DBA6-4489-ABBE-1F5AB3DEA6B7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GB"/>
        </a:p>
      </dgm:t>
    </dgm:pt>
    <dgm:pt modelId="{579A0048-43D4-413C-AA79-466B2DAEAD89}">
      <dgm:prSet/>
      <dgm:spPr/>
      <dgm:t>
        <a:bodyPr/>
        <a:lstStyle/>
        <a:p>
          <a:r>
            <a:rPr lang="en-GB" dirty="0"/>
            <a:t>Mandatory Service</a:t>
          </a:r>
        </a:p>
      </dgm:t>
    </dgm:pt>
    <dgm:pt modelId="{1D37688B-604F-41DD-AC8E-0185484E40C6}" type="parTrans" cxnId="{6CF70D1A-8E3E-4737-92FE-1B3A869F4CCC}">
      <dgm:prSet/>
      <dgm:spPr/>
      <dgm:t>
        <a:bodyPr/>
        <a:lstStyle/>
        <a:p>
          <a:endParaRPr lang="en-GB"/>
        </a:p>
      </dgm:t>
    </dgm:pt>
    <dgm:pt modelId="{3AE7DE01-EE9A-47D7-BD73-6DF9AC012F1B}" type="sibTrans" cxnId="{6CF70D1A-8E3E-4737-92FE-1B3A869F4CCC}">
      <dgm:prSet/>
      <dgm:spPr/>
      <dgm:t>
        <a:bodyPr/>
        <a:lstStyle/>
        <a:p>
          <a:endParaRPr lang="en-GB"/>
        </a:p>
      </dgm:t>
    </dgm:pt>
    <dgm:pt modelId="{53B7EAAD-3A41-487F-B86E-0010A6CC6532}">
      <dgm:prSet/>
      <dgm:spPr/>
      <dgm:t>
        <a:bodyPr/>
        <a:lstStyle/>
        <a:p>
          <a:r>
            <a:rPr lang="en-GB" dirty="0"/>
            <a:t>IT budget</a:t>
          </a:r>
        </a:p>
      </dgm:t>
    </dgm:pt>
    <dgm:pt modelId="{0B62647E-CCFA-40E7-A304-B8BC2F61B5D4}" type="parTrans" cxnId="{D86FB227-2B41-4986-8EA8-7DCA4BF0E41F}">
      <dgm:prSet/>
      <dgm:spPr/>
      <dgm:t>
        <a:bodyPr/>
        <a:lstStyle/>
        <a:p>
          <a:endParaRPr lang="en-GB"/>
        </a:p>
      </dgm:t>
    </dgm:pt>
    <dgm:pt modelId="{CF827286-04CC-43D8-8419-D5C6485453D7}" type="sibTrans" cxnId="{D86FB227-2B41-4986-8EA8-7DCA4BF0E41F}">
      <dgm:prSet/>
      <dgm:spPr/>
      <dgm:t>
        <a:bodyPr/>
        <a:lstStyle/>
        <a:p>
          <a:endParaRPr lang="en-GB"/>
        </a:p>
      </dgm:t>
    </dgm:pt>
    <dgm:pt modelId="{1C94F776-47D6-4B13-8FA2-C1C8F5CC3D02}">
      <dgm:prSet/>
      <dgm:spPr/>
      <dgm:t>
        <a:bodyPr/>
        <a:lstStyle/>
        <a:p>
          <a:r>
            <a:rPr lang="en-GB"/>
            <a:t>Service knowledge is essential</a:t>
          </a:r>
        </a:p>
      </dgm:t>
    </dgm:pt>
    <dgm:pt modelId="{D1CBDAC6-A5B0-4033-8003-295709FF0CFA}" type="parTrans" cxnId="{D54BB086-3B00-401C-A431-C7EA765D49AC}">
      <dgm:prSet/>
      <dgm:spPr/>
      <dgm:t>
        <a:bodyPr/>
        <a:lstStyle/>
        <a:p>
          <a:endParaRPr lang="en-GB"/>
        </a:p>
      </dgm:t>
    </dgm:pt>
    <dgm:pt modelId="{EBEE54A0-72C8-4D91-BE3B-8EA066184CC5}" type="sibTrans" cxnId="{D54BB086-3B00-401C-A431-C7EA765D49AC}">
      <dgm:prSet/>
      <dgm:spPr/>
      <dgm:t>
        <a:bodyPr/>
        <a:lstStyle/>
        <a:p>
          <a:endParaRPr lang="en-GB"/>
        </a:p>
      </dgm:t>
    </dgm:pt>
    <dgm:pt modelId="{EFEAC1C0-1F1B-400B-924D-2EA97F750C3A}">
      <dgm:prSet/>
      <dgm:spPr/>
      <dgm:t>
        <a:bodyPr/>
        <a:lstStyle/>
        <a:p>
          <a:r>
            <a:rPr lang="en-GB"/>
            <a:t>Quick turnaround/ SLAs</a:t>
          </a:r>
        </a:p>
      </dgm:t>
    </dgm:pt>
    <dgm:pt modelId="{9266071D-2EEA-4355-9213-046038AED3E0}" type="parTrans" cxnId="{1065286E-6097-4C27-A69B-8D4AA98130AE}">
      <dgm:prSet/>
      <dgm:spPr/>
      <dgm:t>
        <a:bodyPr/>
        <a:lstStyle/>
        <a:p>
          <a:endParaRPr lang="en-GB"/>
        </a:p>
      </dgm:t>
    </dgm:pt>
    <dgm:pt modelId="{48BE2213-C474-4CA3-8817-D961A191EC77}" type="sibTrans" cxnId="{1065286E-6097-4C27-A69B-8D4AA98130AE}">
      <dgm:prSet/>
      <dgm:spPr/>
      <dgm:t>
        <a:bodyPr/>
        <a:lstStyle/>
        <a:p>
          <a:endParaRPr lang="en-GB"/>
        </a:p>
      </dgm:t>
    </dgm:pt>
    <dgm:pt modelId="{A07A8FB6-3099-4040-BF7F-6889317D2324}" type="pres">
      <dgm:prSet presAssocID="{2E2D5F16-DBA6-4489-ABBE-1F5AB3DEA6B7}" presName="vert0" presStyleCnt="0">
        <dgm:presLayoutVars>
          <dgm:dir/>
          <dgm:animOne val="branch"/>
          <dgm:animLvl val="lvl"/>
        </dgm:presLayoutVars>
      </dgm:prSet>
      <dgm:spPr/>
    </dgm:pt>
    <dgm:pt modelId="{1027017B-F8B2-462F-93EF-0BD850EA5E91}" type="pres">
      <dgm:prSet presAssocID="{579A0048-43D4-413C-AA79-466B2DAEAD89}" presName="thickLine" presStyleLbl="alignNode1" presStyleIdx="0" presStyleCnt="4"/>
      <dgm:spPr/>
    </dgm:pt>
    <dgm:pt modelId="{217E411D-EAD8-457E-B410-743593F9618E}" type="pres">
      <dgm:prSet presAssocID="{579A0048-43D4-413C-AA79-466B2DAEAD89}" presName="horz1" presStyleCnt="0"/>
      <dgm:spPr/>
    </dgm:pt>
    <dgm:pt modelId="{DFA8DB0F-8382-4276-B2B2-73C53B676270}" type="pres">
      <dgm:prSet presAssocID="{579A0048-43D4-413C-AA79-466B2DAEAD89}" presName="tx1" presStyleLbl="revTx" presStyleIdx="0" presStyleCnt="4"/>
      <dgm:spPr/>
    </dgm:pt>
    <dgm:pt modelId="{1DD707A4-2DB2-4640-BCD3-13F4975917D1}" type="pres">
      <dgm:prSet presAssocID="{579A0048-43D4-413C-AA79-466B2DAEAD89}" presName="vert1" presStyleCnt="0"/>
      <dgm:spPr/>
    </dgm:pt>
    <dgm:pt modelId="{1B127AEC-645E-4F25-AC32-48DD90541000}" type="pres">
      <dgm:prSet presAssocID="{53B7EAAD-3A41-487F-B86E-0010A6CC6532}" presName="thickLine" presStyleLbl="alignNode1" presStyleIdx="1" presStyleCnt="4"/>
      <dgm:spPr/>
    </dgm:pt>
    <dgm:pt modelId="{5A61831E-45C0-4D51-AA89-E6905D171565}" type="pres">
      <dgm:prSet presAssocID="{53B7EAAD-3A41-487F-B86E-0010A6CC6532}" presName="horz1" presStyleCnt="0"/>
      <dgm:spPr/>
    </dgm:pt>
    <dgm:pt modelId="{A763AE3A-75C4-418E-A338-9E01B0C7E514}" type="pres">
      <dgm:prSet presAssocID="{53B7EAAD-3A41-487F-B86E-0010A6CC6532}" presName="tx1" presStyleLbl="revTx" presStyleIdx="1" presStyleCnt="4"/>
      <dgm:spPr/>
    </dgm:pt>
    <dgm:pt modelId="{42BDD59A-5DED-47DC-A809-518894401D52}" type="pres">
      <dgm:prSet presAssocID="{53B7EAAD-3A41-487F-B86E-0010A6CC6532}" presName="vert1" presStyleCnt="0"/>
      <dgm:spPr/>
    </dgm:pt>
    <dgm:pt modelId="{CC876FB0-59DB-47C3-8E65-8EC713B59971}" type="pres">
      <dgm:prSet presAssocID="{1C94F776-47D6-4B13-8FA2-C1C8F5CC3D02}" presName="thickLine" presStyleLbl="alignNode1" presStyleIdx="2" presStyleCnt="4"/>
      <dgm:spPr/>
    </dgm:pt>
    <dgm:pt modelId="{CC766831-D29F-433D-AA9D-CE9AE7D72BEE}" type="pres">
      <dgm:prSet presAssocID="{1C94F776-47D6-4B13-8FA2-C1C8F5CC3D02}" presName="horz1" presStyleCnt="0"/>
      <dgm:spPr/>
    </dgm:pt>
    <dgm:pt modelId="{800C9387-00D1-4FAF-A636-A120B566F6F2}" type="pres">
      <dgm:prSet presAssocID="{1C94F776-47D6-4B13-8FA2-C1C8F5CC3D02}" presName="tx1" presStyleLbl="revTx" presStyleIdx="2" presStyleCnt="4"/>
      <dgm:spPr/>
    </dgm:pt>
    <dgm:pt modelId="{FBFEFDF8-3B2D-47D0-9605-B4AE914F962F}" type="pres">
      <dgm:prSet presAssocID="{1C94F776-47D6-4B13-8FA2-C1C8F5CC3D02}" presName="vert1" presStyleCnt="0"/>
      <dgm:spPr/>
    </dgm:pt>
    <dgm:pt modelId="{63B561D0-EBFE-4A43-8C58-B8F95E05781D}" type="pres">
      <dgm:prSet presAssocID="{EFEAC1C0-1F1B-400B-924D-2EA97F750C3A}" presName="thickLine" presStyleLbl="alignNode1" presStyleIdx="3" presStyleCnt="4"/>
      <dgm:spPr/>
    </dgm:pt>
    <dgm:pt modelId="{60B41F83-233B-4FB0-AB12-5FDDEF38A886}" type="pres">
      <dgm:prSet presAssocID="{EFEAC1C0-1F1B-400B-924D-2EA97F750C3A}" presName="horz1" presStyleCnt="0"/>
      <dgm:spPr/>
    </dgm:pt>
    <dgm:pt modelId="{2D86C70D-EDB2-4992-A62F-1BF2A641F06A}" type="pres">
      <dgm:prSet presAssocID="{EFEAC1C0-1F1B-400B-924D-2EA97F750C3A}" presName="tx1" presStyleLbl="revTx" presStyleIdx="3" presStyleCnt="4"/>
      <dgm:spPr/>
    </dgm:pt>
    <dgm:pt modelId="{9C48CDB5-DB80-41F5-BA88-6505C1013361}" type="pres">
      <dgm:prSet presAssocID="{EFEAC1C0-1F1B-400B-924D-2EA97F750C3A}" presName="vert1" presStyleCnt="0"/>
      <dgm:spPr/>
    </dgm:pt>
  </dgm:ptLst>
  <dgm:cxnLst>
    <dgm:cxn modelId="{DC62F309-2E03-40FB-B253-112E98934219}" type="presOf" srcId="{53B7EAAD-3A41-487F-B86E-0010A6CC6532}" destId="{A763AE3A-75C4-418E-A338-9E01B0C7E514}" srcOrd="0" destOrd="0" presId="urn:microsoft.com/office/officeart/2008/layout/LinedList"/>
    <dgm:cxn modelId="{E5789112-F4B2-4521-A12B-C93510C8B5C6}" type="presOf" srcId="{579A0048-43D4-413C-AA79-466B2DAEAD89}" destId="{DFA8DB0F-8382-4276-B2B2-73C53B676270}" srcOrd="0" destOrd="0" presId="urn:microsoft.com/office/officeart/2008/layout/LinedList"/>
    <dgm:cxn modelId="{6CF70D1A-8E3E-4737-92FE-1B3A869F4CCC}" srcId="{2E2D5F16-DBA6-4489-ABBE-1F5AB3DEA6B7}" destId="{579A0048-43D4-413C-AA79-466B2DAEAD89}" srcOrd="0" destOrd="0" parTransId="{1D37688B-604F-41DD-AC8E-0185484E40C6}" sibTransId="{3AE7DE01-EE9A-47D7-BD73-6DF9AC012F1B}"/>
    <dgm:cxn modelId="{D86FB227-2B41-4986-8EA8-7DCA4BF0E41F}" srcId="{2E2D5F16-DBA6-4489-ABBE-1F5AB3DEA6B7}" destId="{53B7EAAD-3A41-487F-B86E-0010A6CC6532}" srcOrd="1" destOrd="0" parTransId="{0B62647E-CCFA-40E7-A304-B8BC2F61B5D4}" sibTransId="{CF827286-04CC-43D8-8419-D5C6485453D7}"/>
    <dgm:cxn modelId="{AADCBC67-490B-4D47-97A9-2C2B9040EE45}" type="presOf" srcId="{1C94F776-47D6-4B13-8FA2-C1C8F5CC3D02}" destId="{800C9387-00D1-4FAF-A636-A120B566F6F2}" srcOrd="0" destOrd="0" presId="urn:microsoft.com/office/officeart/2008/layout/LinedList"/>
    <dgm:cxn modelId="{1065286E-6097-4C27-A69B-8D4AA98130AE}" srcId="{2E2D5F16-DBA6-4489-ABBE-1F5AB3DEA6B7}" destId="{EFEAC1C0-1F1B-400B-924D-2EA97F750C3A}" srcOrd="3" destOrd="0" parTransId="{9266071D-2EEA-4355-9213-046038AED3E0}" sibTransId="{48BE2213-C474-4CA3-8817-D961A191EC77}"/>
    <dgm:cxn modelId="{7E197285-B755-453F-BF78-6A1A58F8ACF7}" type="presOf" srcId="{2E2D5F16-DBA6-4489-ABBE-1F5AB3DEA6B7}" destId="{A07A8FB6-3099-4040-BF7F-6889317D2324}" srcOrd="0" destOrd="0" presId="urn:microsoft.com/office/officeart/2008/layout/LinedList"/>
    <dgm:cxn modelId="{D54BB086-3B00-401C-A431-C7EA765D49AC}" srcId="{2E2D5F16-DBA6-4489-ABBE-1F5AB3DEA6B7}" destId="{1C94F776-47D6-4B13-8FA2-C1C8F5CC3D02}" srcOrd="2" destOrd="0" parTransId="{D1CBDAC6-A5B0-4033-8003-295709FF0CFA}" sibTransId="{EBEE54A0-72C8-4D91-BE3B-8EA066184CC5}"/>
    <dgm:cxn modelId="{B22AFCB7-728D-4B68-9887-7CBABBC83A03}" type="presOf" srcId="{EFEAC1C0-1F1B-400B-924D-2EA97F750C3A}" destId="{2D86C70D-EDB2-4992-A62F-1BF2A641F06A}" srcOrd="0" destOrd="0" presId="urn:microsoft.com/office/officeart/2008/layout/LinedList"/>
    <dgm:cxn modelId="{AF5B9D32-2690-4016-9D57-CB50B3D856DF}" type="presParOf" srcId="{A07A8FB6-3099-4040-BF7F-6889317D2324}" destId="{1027017B-F8B2-462F-93EF-0BD850EA5E91}" srcOrd="0" destOrd="0" presId="urn:microsoft.com/office/officeart/2008/layout/LinedList"/>
    <dgm:cxn modelId="{78A1777B-01E4-42B9-976B-CDBB9BFBC8C7}" type="presParOf" srcId="{A07A8FB6-3099-4040-BF7F-6889317D2324}" destId="{217E411D-EAD8-457E-B410-743593F9618E}" srcOrd="1" destOrd="0" presId="urn:microsoft.com/office/officeart/2008/layout/LinedList"/>
    <dgm:cxn modelId="{9A538409-292D-4C84-9A21-8F6006BE44B9}" type="presParOf" srcId="{217E411D-EAD8-457E-B410-743593F9618E}" destId="{DFA8DB0F-8382-4276-B2B2-73C53B676270}" srcOrd="0" destOrd="0" presId="urn:microsoft.com/office/officeart/2008/layout/LinedList"/>
    <dgm:cxn modelId="{0EADB371-7B13-4BE6-A080-A9BA4C55B438}" type="presParOf" srcId="{217E411D-EAD8-457E-B410-743593F9618E}" destId="{1DD707A4-2DB2-4640-BCD3-13F4975917D1}" srcOrd="1" destOrd="0" presId="urn:microsoft.com/office/officeart/2008/layout/LinedList"/>
    <dgm:cxn modelId="{776316D7-FE87-4813-A9CC-A60B843466F3}" type="presParOf" srcId="{A07A8FB6-3099-4040-BF7F-6889317D2324}" destId="{1B127AEC-645E-4F25-AC32-48DD90541000}" srcOrd="2" destOrd="0" presId="urn:microsoft.com/office/officeart/2008/layout/LinedList"/>
    <dgm:cxn modelId="{FA65640E-9F0D-426B-98C1-7CF90B0682EC}" type="presParOf" srcId="{A07A8FB6-3099-4040-BF7F-6889317D2324}" destId="{5A61831E-45C0-4D51-AA89-E6905D171565}" srcOrd="3" destOrd="0" presId="urn:microsoft.com/office/officeart/2008/layout/LinedList"/>
    <dgm:cxn modelId="{D6F63596-49B2-4DEF-83D1-559E2562D59E}" type="presParOf" srcId="{5A61831E-45C0-4D51-AA89-E6905D171565}" destId="{A763AE3A-75C4-418E-A338-9E01B0C7E514}" srcOrd="0" destOrd="0" presId="urn:microsoft.com/office/officeart/2008/layout/LinedList"/>
    <dgm:cxn modelId="{0AA1A119-557D-4C63-9405-FB9E5A3C6CC2}" type="presParOf" srcId="{5A61831E-45C0-4D51-AA89-E6905D171565}" destId="{42BDD59A-5DED-47DC-A809-518894401D52}" srcOrd="1" destOrd="0" presId="urn:microsoft.com/office/officeart/2008/layout/LinedList"/>
    <dgm:cxn modelId="{EEF9CA0E-C581-402C-ABFA-4BF1210A645A}" type="presParOf" srcId="{A07A8FB6-3099-4040-BF7F-6889317D2324}" destId="{CC876FB0-59DB-47C3-8E65-8EC713B59971}" srcOrd="4" destOrd="0" presId="urn:microsoft.com/office/officeart/2008/layout/LinedList"/>
    <dgm:cxn modelId="{84EA15D4-6032-466E-BCB0-818CEC9DAED8}" type="presParOf" srcId="{A07A8FB6-3099-4040-BF7F-6889317D2324}" destId="{CC766831-D29F-433D-AA9D-CE9AE7D72BEE}" srcOrd="5" destOrd="0" presId="urn:microsoft.com/office/officeart/2008/layout/LinedList"/>
    <dgm:cxn modelId="{EC0EBA5E-0883-4BCA-BB65-9412BD59C572}" type="presParOf" srcId="{CC766831-D29F-433D-AA9D-CE9AE7D72BEE}" destId="{800C9387-00D1-4FAF-A636-A120B566F6F2}" srcOrd="0" destOrd="0" presId="urn:microsoft.com/office/officeart/2008/layout/LinedList"/>
    <dgm:cxn modelId="{DCE552D9-E94C-4A47-B721-E51F1D95E9B6}" type="presParOf" srcId="{CC766831-D29F-433D-AA9D-CE9AE7D72BEE}" destId="{FBFEFDF8-3B2D-47D0-9605-B4AE914F962F}" srcOrd="1" destOrd="0" presId="urn:microsoft.com/office/officeart/2008/layout/LinedList"/>
    <dgm:cxn modelId="{2AF3A0DF-9C13-4C5A-9263-E7FE4D5CB2CF}" type="presParOf" srcId="{A07A8FB6-3099-4040-BF7F-6889317D2324}" destId="{63B561D0-EBFE-4A43-8C58-B8F95E05781D}" srcOrd="6" destOrd="0" presId="urn:microsoft.com/office/officeart/2008/layout/LinedList"/>
    <dgm:cxn modelId="{2F2AF935-3EAA-48B8-B89F-67581D29AAE4}" type="presParOf" srcId="{A07A8FB6-3099-4040-BF7F-6889317D2324}" destId="{60B41F83-233B-4FB0-AB12-5FDDEF38A886}" srcOrd="7" destOrd="0" presId="urn:microsoft.com/office/officeart/2008/layout/LinedList"/>
    <dgm:cxn modelId="{1AF7987B-B4E3-4511-8EF5-82A2B9596DF4}" type="presParOf" srcId="{60B41F83-233B-4FB0-AB12-5FDDEF38A886}" destId="{2D86C70D-EDB2-4992-A62F-1BF2A641F06A}" srcOrd="0" destOrd="0" presId="urn:microsoft.com/office/officeart/2008/layout/LinedList"/>
    <dgm:cxn modelId="{89CD2A45-EDF0-4F2B-BA9F-47450E841ADC}" type="presParOf" srcId="{60B41F83-233B-4FB0-AB12-5FDDEF38A886}" destId="{9C48CDB5-DB80-41F5-BA88-6505C1013361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58738D6-A209-4719-AE1D-0F5BEBAA6853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GB"/>
        </a:p>
      </dgm:t>
    </dgm:pt>
    <dgm:pt modelId="{FA3AEA6D-F996-4976-82AC-823D38585673}">
      <dgm:prSet/>
      <dgm:spPr/>
      <dgm:t>
        <a:bodyPr/>
        <a:lstStyle/>
        <a:p>
          <a:r>
            <a:rPr lang="en-GB" baseline="0" dirty="0"/>
            <a:t>Mandatory Service</a:t>
          </a:r>
          <a:endParaRPr lang="en-GB" dirty="0"/>
        </a:p>
      </dgm:t>
    </dgm:pt>
    <dgm:pt modelId="{9C48E26E-4CA6-4F32-B352-7E53C9DD875C}" type="parTrans" cxnId="{C27FCF37-C76C-45D9-AD6E-343A9FEDDF10}">
      <dgm:prSet/>
      <dgm:spPr/>
      <dgm:t>
        <a:bodyPr/>
        <a:lstStyle/>
        <a:p>
          <a:endParaRPr lang="en-GB"/>
        </a:p>
      </dgm:t>
    </dgm:pt>
    <dgm:pt modelId="{746AE7A5-1D0A-4B97-BCD0-EEB33A5505D2}" type="sibTrans" cxnId="{C27FCF37-C76C-45D9-AD6E-343A9FEDDF10}">
      <dgm:prSet/>
      <dgm:spPr/>
      <dgm:t>
        <a:bodyPr/>
        <a:lstStyle/>
        <a:p>
          <a:endParaRPr lang="en-GB"/>
        </a:p>
      </dgm:t>
    </dgm:pt>
    <dgm:pt modelId="{87DD1DE5-AA73-4477-A5B4-449B5E7D12FF}">
      <dgm:prSet/>
      <dgm:spPr/>
      <dgm:t>
        <a:bodyPr/>
        <a:lstStyle/>
        <a:p>
          <a:r>
            <a:rPr lang="en-GB"/>
            <a:t>Project budget</a:t>
          </a:r>
        </a:p>
      </dgm:t>
    </dgm:pt>
    <dgm:pt modelId="{E8734C39-3BC6-4885-BB68-38145A03AAB8}" type="parTrans" cxnId="{BE12FA21-DFC2-4870-B833-00A7C34C38B1}">
      <dgm:prSet/>
      <dgm:spPr/>
      <dgm:t>
        <a:bodyPr/>
        <a:lstStyle/>
        <a:p>
          <a:endParaRPr lang="en-GB"/>
        </a:p>
      </dgm:t>
    </dgm:pt>
    <dgm:pt modelId="{B4BA21BD-8673-4E40-B490-A2D2104B7BF0}" type="sibTrans" cxnId="{BE12FA21-DFC2-4870-B833-00A7C34C38B1}">
      <dgm:prSet/>
      <dgm:spPr/>
      <dgm:t>
        <a:bodyPr/>
        <a:lstStyle/>
        <a:p>
          <a:endParaRPr lang="en-GB"/>
        </a:p>
      </dgm:t>
    </dgm:pt>
    <dgm:pt modelId="{03643520-81CB-4BA2-9248-4F74145D5022}">
      <dgm:prSet/>
      <dgm:spPr/>
      <dgm:t>
        <a:bodyPr/>
        <a:lstStyle/>
        <a:p>
          <a:r>
            <a:rPr lang="en-GB" baseline="0" dirty="0"/>
            <a:t>Project knowledge is important</a:t>
          </a:r>
          <a:endParaRPr lang="en-GB" dirty="0"/>
        </a:p>
      </dgm:t>
    </dgm:pt>
    <dgm:pt modelId="{E8C0B676-4C6E-463E-8904-B83C449C57DB}" type="parTrans" cxnId="{C767B7EE-7AB9-42DE-B61D-3137210411B3}">
      <dgm:prSet/>
      <dgm:spPr/>
      <dgm:t>
        <a:bodyPr/>
        <a:lstStyle/>
        <a:p>
          <a:endParaRPr lang="en-GB"/>
        </a:p>
      </dgm:t>
    </dgm:pt>
    <dgm:pt modelId="{3D4E9102-ED3B-4B34-B0D1-C64F9074C50F}" type="sibTrans" cxnId="{C767B7EE-7AB9-42DE-B61D-3137210411B3}">
      <dgm:prSet/>
      <dgm:spPr/>
      <dgm:t>
        <a:bodyPr/>
        <a:lstStyle/>
        <a:p>
          <a:endParaRPr lang="en-GB"/>
        </a:p>
      </dgm:t>
    </dgm:pt>
    <dgm:pt modelId="{D26AD173-9CE1-43A8-BDC2-B8238710C7A6}">
      <dgm:prSet/>
      <dgm:spPr/>
      <dgm:t>
        <a:bodyPr/>
        <a:lstStyle/>
        <a:p>
          <a:r>
            <a:rPr lang="en-GB"/>
            <a:t>Knowledge of the tools is essential</a:t>
          </a:r>
        </a:p>
      </dgm:t>
    </dgm:pt>
    <dgm:pt modelId="{18A3FF16-A50D-45C2-B8B4-D04B1425B82B}" type="parTrans" cxnId="{FAE5C4D0-A8F9-452C-8AC2-5741BC3DF950}">
      <dgm:prSet/>
      <dgm:spPr/>
      <dgm:t>
        <a:bodyPr/>
        <a:lstStyle/>
        <a:p>
          <a:endParaRPr lang="en-GB"/>
        </a:p>
      </dgm:t>
    </dgm:pt>
    <dgm:pt modelId="{DD1B7F56-5AC9-46E3-A90A-131E2ECB7EFF}" type="sibTrans" cxnId="{FAE5C4D0-A8F9-452C-8AC2-5741BC3DF950}">
      <dgm:prSet/>
      <dgm:spPr/>
      <dgm:t>
        <a:bodyPr/>
        <a:lstStyle/>
        <a:p>
          <a:endParaRPr lang="en-GB"/>
        </a:p>
      </dgm:t>
    </dgm:pt>
    <dgm:pt modelId="{FD68F593-EAE2-4D8A-B016-B0E10747053A}">
      <dgm:prSet/>
      <dgm:spPr/>
      <dgm:t>
        <a:bodyPr/>
        <a:lstStyle/>
        <a:p>
          <a:r>
            <a:rPr lang="en-GB" baseline="0"/>
            <a:t>SLAs</a:t>
          </a:r>
          <a:endParaRPr lang="en-GB"/>
        </a:p>
      </dgm:t>
    </dgm:pt>
    <dgm:pt modelId="{4EBABCB0-FAFE-4580-A66C-36E01C15F26D}" type="parTrans" cxnId="{4778F695-8C10-4DC0-B132-F851FEF71DB3}">
      <dgm:prSet/>
      <dgm:spPr/>
      <dgm:t>
        <a:bodyPr/>
        <a:lstStyle/>
        <a:p>
          <a:endParaRPr lang="en-GB"/>
        </a:p>
      </dgm:t>
    </dgm:pt>
    <dgm:pt modelId="{E4801603-0BF1-41BF-B217-436E954E6A50}" type="sibTrans" cxnId="{4778F695-8C10-4DC0-B132-F851FEF71DB3}">
      <dgm:prSet/>
      <dgm:spPr/>
      <dgm:t>
        <a:bodyPr/>
        <a:lstStyle/>
        <a:p>
          <a:endParaRPr lang="en-GB"/>
        </a:p>
      </dgm:t>
    </dgm:pt>
    <dgm:pt modelId="{401C9559-A13A-4968-8C48-73E1B4350D95}" type="pres">
      <dgm:prSet presAssocID="{B58738D6-A209-4719-AE1D-0F5BEBAA6853}" presName="vert0" presStyleCnt="0">
        <dgm:presLayoutVars>
          <dgm:dir/>
          <dgm:animOne val="branch"/>
          <dgm:animLvl val="lvl"/>
        </dgm:presLayoutVars>
      </dgm:prSet>
      <dgm:spPr/>
    </dgm:pt>
    <dgm:pt modelId="{9DB85417-D219-4231-842A-2B59B33CFFF6}" type="pres">
      <dgm:prSet presAssocID="{FA3AEA6D-F996-4976-82AC-823D38585673}" presName="thickLine" presStyleLbl="alignNode1" presStyleIdx="0" presStyleCnt="5"/>
      <dgm:spPr/>
    </dgm:pt>
    <dgm:pt modelId="{385040FA-7537-4B2B-BF06-3176AAD268CA}" type="pres">
      <dgm:prSet presAssocID="{FA3AEA6D-F996-4976-82AC-823D38585673}" presName="horz1" presStyleCnt="0"/>
      <dgm:spPr/>
    </dgm:pt>
    <dgm:pt modelId="{C10C6A6F-9E02-4031-BD26-7ADB1DDE497F}" type="pres">
      <dgm:prSet presAssocID="{FA3AEA6D-F996-4976-82AC-823D38585673}" presName="tx1" presStyleLbl="revTx" presStyleIdx="0" presStyleCnt="5"/>
      <dgm:spPr/>
    </dgm:pt>
    <dgm:pt modelId="{C08A5F91-AF42-43B1-9DB3-723100381360}" type="pres">
      <dgm:prSet presAssocID="{FA3AEA6D-F996-4976-82AC-823D38585673}" presName="vert1" presStyleCnt="0"/>
      <dgm:spPr/>
    </dgm:pt>
    <dgm:pt modelId="{3BF3C64D-6082-4795-8976-D3C1CD696FED}" type="pres">
      <dgm:prSet presAssocID="{87DD1DE5-AA73-4477-A5B4-449B5E7D12FF}" presName="thickLine" presStyleLbl="alignNode1" presStyleIdx="1" presStyleCnt="5"/>
      <dgm:spPr/>
    </dgm:pt>
    <dgm:pt modelId="{C829DC62-AA93-48DC-A4C7-4747AED0C6A7}" type="pres">
      <dgm:prSet presAssocID="{87DD1DE5-AA73-4477-A5B4-449B5E7D12FF}" presName="horz1" presStyleCnt="0"/>
      <dgm:spPr/>
    </dgm:pt>
    <dgm:pt modelId="{1FF8DF34-83C1-4AC2-ADD1-5B66418D74E2}" type="pres">
      <dgm:prSet presAssocID="{87DD1DE5-AA73-4477-A5B4-449B5E7D12FF}" presName="tx1" presStyleLbl="revTx" presStyleIdx="1" presStyleCnt="5"/>
      <dgm:spPr/>
    </dgm:pt>
    <dgm:pt modelId="{DC3D68B7-61C0-4120-AFA8-D41C47CC269A}" type="pres">
      <dgm:prSet presAssocID="{87DD1DE5-AA73-4477-A5B4-449B5E7D12FF}" presName="vert1" presStyleCnt="0"/>
      <dgm:spPr/>
    </dgm:pt>
    <dgm:pt modelId="{8062711C-88ED-4979-BAE5-F8D14443EAA0}" type="pres">
      <dgm:prSet presAssocID="{03643520-81CB-4BA2-9248-4F74145D5022}" presName="thickLine" presStyleLbl="alignNode1" presStyleIdx="2" presStyleCnt="5"/>
      <dgm:spPr/>
    </dgm:pt>
    <dgm:pt modelId="{19249DC9-54C1-4399-AF74-4F1C17A67AE3}" type="pres">
      <dgm:prSet presAssocID="{03643520-81CB-4BA2-9248-4F74145D5022}" presName="horz1" presStyleCnt="0"/>
      <dgm:spPr/>
    </dgm:pt>
    <dgm:pt modelId="{5BB3597E-2C02-493F-98E5-CCFE3FFED3F3}" type="pres">
      <dgm:prSet presAssocID="{03643520-81CB-4BA2-9248-4F74145D5022}" presName="tx1" presStyleLbl="revTx" presStyleIdx="2" presStyleCnt="5"/>
      <dgm:spPr/>
    </dgm:pt>
    <dgm:pt modelId="{D1721546-F28F-446F-AB73-2AF1D9ABDFEE}" type="pres">
      <dgm:prSet presAssocID="{03643520-81CB-4BA2-9248-4F74145D5022}" presName="vert1" presStyleCnt="0"/>
      <dgm:spPr/>
    </dgm:pt>
    <dgm:pt modelId="{A73D7133-335D-4DF1-BDC2-9210287CDCC1}" type="pres">
      <dgm:prSet presAssocID="{D26AD173-9CE1-43A8-BDC2-B8238710C7A6}" presName="thickLine" presStyleLbl="alignNode1" presStyleIdx="3" presStyleCnt="5"/>
      <dgm:spPr/>
    </dgm:pt>
    <dgm:pt modelId="{F9FF0623-C895-402A-87D2-FDDE657BF570}" type="pres">
      <dgm:prSet presAssocID="{D26AD173-9CE1-43A8-BDC2-B8238710C7A6}" presName="horz1" presStyleCnt="0"/>
      <dgm:spPr/>
    </dgm:pt>
    <dgm:pt modelId="{4A4E6819-1246-425D-AF52-5B792C5D42D3}" type="pres">
      <dgm:prSet presAssocID="{D26AD173-9CE1-43A8-BDC2-B8238710C7A6}" presName="tx1" presStyleLbl="revTx" presStyleIdx="3" presStyleCnt="5"/>
      <dgm:spPr/>
    </dgm:pt>
    <dgm:pt modelId="{D264FCFD-ACDE-4648-A116-4CAA4FF0CFD5}" type="pres">
      <dgm:prSet presAssocID="{D26AD173-9CE1-43A8-BDC2-B8238710C7A6}" presName="vert1" presStyleCnt="0"/>
      <dgm:spPr/>
    </dgm:pt>
    <dgm:pt modelId="{15B1A47E-E599-4241-A418-75395BCCE867}" type="pres">
      <dgm:prSet presAssocID="{FD68F593-EAE2-4D8A-B016-B0E10747053A}" presName="thickLine" presStyleLbl="alignNode1" presStyleIdx="4" presStyleCnt="5"/>
      <dgm:spPr/>
    </dgm:pt>
    <dgm:pt modelId="{DE167096-F1C5-44FB-A0A3-2D6CACB104BB}" type="pres">
      <dgm:prSet presAssocID="{FD68F593-EAE2-4D8A-B016-B0E10747053A}" presName="horz1" presStyleCnt="0"/>
      <dgm:spPr/>
    </dgm:pt>
    <dgm:pt modelId="{207D6FAC-FDA4-4DD5-ACF7-621BE3A6B493}" type="pres">
      <dgm:prSet presAssocID="{FD68F593-EAE2-4D8A-B016-B0E10747053A}" presName="tx1" presStyleLbl="revTx" presStyleIdx="4" presStyleCnt="5"/>
      <dgm:spPr/>
    </dgm:pt>
    <dgm:pt modelId="{3AC3BB87-9EF1-4792-9249-B7B55B205E55}" type="pres">
      <dgm:prSet presAssocID="{FD68F593-EAE2-4D8A-B016-B0E10747053A}" presName="vert1" presStyleCnt="0"/>
      <dgm:spPr/>
    </dgm:pt>
  </dgm:ptLst>
  <dgm:cxnLst>
    <dgm:cxn modelId="{00BA3417-4106-47C9-AEA9-B042275E706D}" type="presOf" srcId="{D26AD173-9CE1-43A8-BDC2-B8238710C7A6}" destId="{4A4E6819-1246-425D-AF52-5B792C5D42D3}" srcOrd="0" destOrd="0" presId="urn:microsoft.com/office/officeart/2008/layout/LinedList"/>
    <dgm:cxn modelId="{617DA31B-991E-496C-B6C2-6CB5A2229714}" type="presOf" srcId="{FD68F593-EAE2-4D8A-B016-B0E10747053A}" destId="{207D6FAC-FDA4-4DD5-ACF7-621BE3A6B493}" srcOrd="0" destOrd="0" presId="urn:microsoft.com/office/officeart/2008/layout/LinedList"/>
    <dgm:cxn modelId="{BE12FA21-DFC2-4870-B833-00A7C34C38B1}" srcId="{B58738D6-A209-4719-AE1D-0F5BEBAA6853}" destId="{87DD1DE5-AA73-4477-A5B4-449B5E7D12FF}" srcOrd="1" destOrd="0" parTransId="{E8734C39-3BC6-4885-BB68-38145A03AAB8}" sibTransId="{B4BA21BD-8673-4E40-B490-A2D2104B7BF0}"/>
    <dgm:cxn modelId="{C27FCF37-C76C-45D9-AD6E-343A9FEDDF10}" srcId="{B58738D6-A209-4719-AE1D-0F5BEBAA6853}" destId="{FA3AEA6D-F996-4976-82AC-823D38585673}" srcOrd="0" destOrd="0" parTransId="{9C48E26E-4CA6-4F32-B352-7E53C9DD875C}" sibTransId="{746AE7A5-1D0A-4B97-BCD0-EEB33A5505D2}"/>
    <dgm:cxn modelId="{50CEA747-6944-409B-93A7-230660859BAA}" type="presOf" srcId="{87DD1DE5-AA73-4477-A5B4-449B5E7D12FF}" destId="{1FF8DF34-83C1-4AC2-ADD1-5B66418D74E2}" srcOrd="0" destOrd="0" presId="urn:microsoft.com/office/officeart/2008/layout/LinedList"/>
    <dgm:cxn modelId="{E75C7C53-0B8E-4A91-8A1C-1A0C9F3F15CC}" type="presOf" srcId="{03643520-81CB-4BA2-9248-4F74145D5022}" destId="{5BB3597E-2C02-493F-98E5-CCFE3FFED3F3}" srcOrd="0" destOrd="0" presId="urn:microsoft.com/office/officeart/2008/layout/LinedList"/>
    <dgm:cxn modelId="{E2B1DA84-8572-44FC-914D-E517F4988D49}" type="presOf" srcId="{B58738D6-A209-4719-AE1D-0F5BEBAA6853}" destId="{401C9559-A13A-4968-8C48-73E1B4350D95}" srcOrd="0" destOrd="0" presId="urn:microsoft.com/office/officeart/2008/layout/LinedList"/>
    <dgm:cxn modelId="{4778F695-8C10-4DC0-B132-F851FEF71DB3}" srcId="{B58738D6-A209-4719-AE1D-0F5BEBAA6853}" destId="{FD68F593-EAE2-4D8A-B016-B0E10747053A}" srcOrd="4" destOrd="0" parTransId="{4EBABCB0-FAFE-4580-A66C-36E01C15F26D}" sibTransId="{E4801603-0BF1-41BF-B217-436E954E6A50}"/>
    <dgm:cxn modelId="{FAE5C4D0-A8F9-452C-8AC2-5741BC3DF950}" srcId="{B58738D6-A209-4719-AE1D-0F5BEBAA6853}" destId="{D26AD173-9CE1-43A8-BDC2-B8238710C7A6}" srcOrd="3" destOrd="0" parTransId="{18A3FF16-A50D-45C2-B8B4-D04B1425B82B}" sibTransId="{DD1B7F56-5AC9-46E3-A90A-131E2ECB7EFF}"/>
    <dgm:cxn modelId="{85CF7AE7-57B3-47B4-943B-BEA35C3D1C0A}" type="presOf" srcId="{FA3AEA6D-F996-4976-82AC-823D38585673}" destId="{C10C6A6F-9E02-4031-BD26-7ADB1DDE497F}" srcOrd="0" destOrd="0" presId="urn:microsoft.com/office/officeart/2008/layout/LinedList"/>
    <dgm:cxn modelId="{C767B7EE-7AB9-42DE-B61D-3137210411B3}" srcId="{B58738D6-A209-4719-AE1D-0F5BEBAA6853}" destId="{03643520-81CB-4BA2-9248-4F74145D5022}" srcOrd="2" destOrd="0" parTransId="{E8C0B676-4C6E-463E-8904-B83C449C57DB}" sibTransId="{3D4E9102-ED3B-4B34-B0D1-C64F9074C50F}"/>
    <dgm:cxn modelId="{C044FDB1-2D84-4D74-8485-455BE1687513}" type="presParOf" srcId="{401C9559-A13A-4968-8C48-73E1B4350D95}" destId="{9DB85417-D219-4231-842A-2B59B33CFFF6}" srcOrd="0" destOrd="0" presId="urn:microsoft.com/office/officeart/2008/layout/LinedList"/>
    <dgm:cxn modelId="{1EA020A6-AFF5-49A0-923B-8E9EC42C32D6}" type="presParOf" srcId="{401C9559-A13A-4968-8C48-73E1B4350D95}" destId="{385040FA-7537-4B2B-BF06-3176AAD268CA}" srcOrd="1" destOrd="0" presId="urn:microsoft.com/office/officeart/2008/layout/LinedList"/>
    <dgm:cxn modelId="{58533042-3E6F-4205-9F70-4708B82EBD51}" type="presParOf" srcId="{385040FA-7537-4B2B-BF06-3176AAD268CA}" destId="{C10C6A6F-9E02-4031-BD26-7ADB1DDE497F}" srcOrd="0" destOrd="0" presId="urn:microsoft.com/office/officeart/2008/layout/LinedList"/>
    <dgm:cxn modelId="{80BC7A5D-5AD5-402D-A6BD-AF4872087AC3}" type="presParOf" srcId="{385040FA-7537-4B2B-BF06-3176AAD268CA}" destId="{C08A5F91-AF42-43B1-9DB3-723100381360}" srcOrd="1" destOrd="0" presId="urn:microsoft.com/office/officeart/2008/layout/LinedList"/>
    <dgm:cxn modelId="{FA13B3FC-BA14-42ED-86A7-062661ECC03E}" type="presParOf" srcId="{401C9559-A13A-4968-8C48-73E1B4350D95}" destId="{3BF3C64D-6082-4795-8976-D3C1CD696FED}" srcOrd="2" destOrd="0" presId="urn:microsoft.com/office/officeart/2008/layout/LinedList"/>
    <dgm:cxn modelId="{FC669F97-A9B3-4EFD-9A7C-B272DF501554}" type="presParOf" srcId="{401C9559-A13A-4968-8C48-73E1B4350D95}" destId="{C829DC62-AA93-48DC-A4C7-4747AED0C6A7}" srcOrd="3" destOrd="0" presId="urn:microsoft.com/office/officeart/2008/layout/LinedList"/>
    <dgm:cxn modelId="{29BE2981-34A1-4C66-B09E-F4DE138FACD3}" type="presParOf" srcId="{C829DC62-AA93-48DC-A4C7-4747AED0C6A7}" destId="{1FF8DF34-83C1-4AC2-ADD1-5B66418D74E2}" srcOrd="0" destOrd="0" presId="urn:microsoft.com/office/officeart/2008/layout/LinedList"/>
    <dgm:cxn modelId="{273B7319-BF11-46D2-A928-E6473E5C3E21}" type="presParOf" srcId="{C829DC62-AA93-48DC-A4C7-4747AED0C6A7}" destId="{DC3D68B7-61C0-4120-AFA8-D41C47CC269A}" srcOrd="1" destOrd="0" presId="urn:microsoft.com/office/officeart/2008/layout/LinedList"/>
    <dgm:cxn modelId="{E345DB33-C549-425D-8837-CCD892E519C9}" type="presParOf" srcId="{401C9559-A13A-4968-8C48-73E1B4350D95}" destId="{8062711C-88ED-4979-BAE5-F8D14443EAA0}" srcOrd="4" destOrd="0" presId="urn:microsoft.com/office/officeart/2008/layout/LinedList"/>
    <dgm:cxn modelId="{09E7D06E-D747-41DF-A788-B4CFA0943110}" type="presParOf" srcId="{401C9559-A13A-4968-8C48-73E1B4350D95}" destId="{19249DC9-54C1-4399-AF74-4F1C17A67AE3}" srcOrd="5" destOrd="0" presId="urn:microsoft.com/office/officeart/2008/layout/LinedList"/>
    <dgm:cxn modelId="{8F8EEA5F-126E-4CCC-BC84-E4DF7A5347C9}" type="presParOf" srcId="{19249DC9-54C1-4399-AF74-4F1C17A67AE3}" destId="{5BB3597E-2C02-493F-98E5-CCFE3FFED3F3}" srcOrd="0" destOrd="0" presId="urn:microsoft.com/office/officeart/2008/layout/LinedList"/>
    <dgm:cxn modelId="{1950DFC2-F63A-410F-9EE1-0020B24AB3DB}" type="presParOf" srcId="{19249DC9-54C1-4399-AF74-4F1C17A67AE3}" destId="{D1721546-F28F-446F-AB73-2AF1D9ABDFEE}" srcOrd="1" destOrd="0" presId="urn:microsoft.com/office/officeart/2008/layout/LinedList"/>
    <dgm:cxn modelId="{0E4DA59A-E2B0-42DD-8778-CBB0E8F85062}" type="presParOf" srcId="{401C9559-A13A-4968-8C48-73E1B4350D95}" destId="{A73D7133-335D-4DF1-BDC2-9210287CDCC1}" srcOrd="6" destOrd="0" presId="urn:microsoft.com/office/officeart/2008/layout/LinedList"/>
    <dgm:cxn modelId="{38F759A7-B979-4612-A4DC-9E738CC15B8F}" type="presParOf" srcId="{401C9559-A13A-4968-8C48-73E1B4350D95}" destId="{F9FF0623-C895-402A-87D2-FDDE657BF570}" srcOrd="7" destOrd="0" presId="urn:microsoft.com/office/officeart/2008/layout/LinedList"/>
    <dgm:cxn modelId="{7ED5C444-1F32-439F-B60B-1035923166C2}" type="presParOf" srcId="{F9FF0623-C895-402A-87D2-FDDE657BF570}" destId="{4A4E6819-1246-425D-AF52-5B792C5D42D3}" srcOrd="0" destOrd="0" presId="urn:microsoft.com/office/officeart/2008/layout/LinedList"/>
    <dgm:cxn modelId="{A7243496-D50E-4446-8D36-CB17D81FAA8D}" type="presParOf" srcId="{F9FF0623-C895-402A-87D2-FDDE657BF570}" destId="{D264FCFD-ACDE-4648-A116-4CAA4FF0CFD5}" srcOrd="1" destOrd="0" presId="urn:microsoft.com/office/officeart/2008/layout/LinedList"/>
    <dgm:cxn modelId="{375086E1-DD49-41F7-BEF8-24C7473AB63F}" type="presParOf" srcId="{401C9559-A13A-4968-8C48-73E1B4350D95}" destId="{15B1A47E-E599-4241-A418-75395BCCE867}" srcOrd="8" destOrd="0" presId="urn:microsoft.com/office/officeart/2008/layout/LinedList"/>
    <dgm:cxn modelId="{BDC6D778-61E9-4B89-895C-9421D7DCDACB}" type="presParOf" srcId="{401C9559-A13A-4968-8C48-73E1B4350D95}" destId="{DE167096-F1C5-44FB-A0A3-2D6CACB104BB}" srcOrd="9" destOrd="0" presId="urn:microsoft.com/office/officeart/2008/layout/LinedList"/>
    <dgm:cxn modelId="{357CC6E0-6E68-4A51-86AA-FF0E2FFCF2D1}" type="presParOf" srcId="{DE167096-F1C5-44FB-A0A3-2D6CACB104BB}" destId="{207D6FAC-FDA4-4DD5-ACF7-621BE3A6B493}" srcOrd="0" destOrd="0" presId="urn:microsoft.com/office/officeart/2008/layout/LinedList"/>
    <dgm:cxn modelId="{832CBC87-B03F-444F-82BC-429CD6AE8C3B}" type="presParOf" srcId="{DE167096-F1C5-44FB-A0A3-2D6CACB104BB}" destId="{3AC3BB87-9EF1-4792-9249-B7B55B205E55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7C1CBD0-EC5A-4B77-9C2F-1F3893A88941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GB"/>
        </a:p>
      </dgm:t>
    </dgm:pt>
    <dgm:pt modelId="{F72EE4E6-F227-4847-A127-9A6210F4C42E}">
      <dgm:prSet/>
      <dgm:spPr/>
      <dgm:t>
        <a:bodyPr/>
        <a:lstStyle/>
        <a:p>
          <a:r>
            <a:rPr lang="en-GB" dirty="0"/>
            <a:t>P</a:t>
          </a:r>
          <a:r>
            <a:rPr lang="en-GB" baseline="0" dirty="0"/>
            <a:t>erceived as an essential service</a:t>
          </a:r>
          <a:endParaRPr lang="en-GB" dirty="0"/>
        </a:p>
      </dgm:t>
    </dgm:pt>
    <dgm:pt modelId="{17115B79-CD6E-471D-A3F9-2A9308571716}" type="parTrans" cxnId="{35A4302D-6826-4F74-B7E3-DD19E07CAE58}">
      <dgm:prSet/>
      <dgm:spPr/>
      <dgm:t>
        <a:bodyPr/>
        <a:lstStyle/>
        <a:p>
          <a:endParaRPr lang="en-GB"/>
        </a:p>
      </dgm:t>
    </dgm:pt>
    <dgm:pt modelId="{00BE0843-120B-4D30-A48E-17D3F6269AA7}" type="sibTrans" cxnId="{35A4302D-6826-4F74-B7E3-DD19E07CAE58}">
      <dgm:prSet/>
      <dgm:spPr/>
      <dgm:t>
        <a:bodyPr/>
        <a:lstStyle/>
        <a:p>
          <a:endParaRPr lang="en-GB"/>
        </a:p>
      </dgm:t>
    </dgm:pt>
    <dgm:pt modelId="{9DA24C95-784C-44E7-B53A-5176E8D9C4A1}">
      <dgm:prSet/>
      <dgm:spPr/>
      <dgm:t>
        <a:bodyPr/>
        <a:lstStyle/>
        <a:p>
          <a:r>
            <a:rPr lang="en-GB"/>
            <a:t>Project Budget</a:t>
          </a:r>
        </a:p>
      </dgm:t>
    </dgm:pt>
    <dgm:pt modelId="{8EBB05FD-B4AF-4572-B4F5-C4220847D1D6}" type="parTrans" cxnId="{8C888CA5-5BE6-439E-96A2-3AF6D7CABE2E}">
      <dgm:prSet/>
      <dgm:spPr/>
      <dgm:t>
        <a:bodyPr/>
        <a:lstStyle/>
        <a:p>
          <a:endParaRPr lang="en-GB"/>
        </a:p>
      </dgm:t>
    </dgm:pt>
    <dgm:pt modelId="{A75E646A-DAB6-4E04-8308-B7235A4DB87C}" type="sibTrans" cxnId="{8C888CA5-5BE6-439E-96A2-3AF6D7CABE2E}">
      <dgm:prSet/>
      <dgm:spPr/>
      <dgm:t>
        <a:bodyPr/>
        <a:lstStyle/>
        <a:p>
          <a:endParaRPr lang="en-GB"/>
        </a:p>
      </dgm:t>
    </dgm:pt>
    <dgm:pt modelId="{E4B8F65A-5A0B-4B5A-8B7A-A4FA4540DB38}">
      <dgm:prSet/>
      <dgm:spPr/>
      <dgm:t>
        <a:bodyPr/>
        <a:lstStyle/>
        <a:p>
          <a:r>
            <a:rPr lang="en-GB" baseline="0"/>
            <a:t>Project knowledge is a nice to have</a:t>
          </a:r>
          <a:endParaRPr lang="en-GB"/>
        </a:p>
      </dgm:t>
    </dgm:pt>
    <dgm:pt modelId="{DB30A02C-368C-4CE9-9DB6-45F8E3441006}" type="parTrans" cxnId="{FF9B3581-6843-4596-A99A-8CFFAB9E2D58}">
      <dgm:prSet/>
      <dgm:spPr/>
      <dgm:t>
        <a:bodyPr/>
        <a:lstStyle/>
        <a:p>
          <a:endParaRPr lang="en-GB"/>
        </a:p>
      </dgm:t>
    </dgm:pt>
    <dgm:pt modelId="{A12AE494-8A77-418A-AAFE-D62C6F8EE106}" type="sibTrans" cxnId="{FF9B3581-6843-4596-A99A-8CFFAB9E2D58}">
      <dgm:prSet/>
      <dgm:spPr/>
      <dgm:t>
        <a:bodyPr/>
        <a:lstStyle/>
        <a:p>
          <a:endParaRPr lang="en-GB"/>
        </a:p>
      </dgm:t>
    </dgm:pt>
    <dgm:pt modelId="{EE200824-3FBB-4104-9953-4C6F78EB86A2}">
      <dgm:prSet/>
      <dgm:spPr/>
      <dgm:t>
        <a:bodyPr/>
        <a:lstStyle/>
        <a:p>
          <a:r>
            <a:rPr lang="en-GB" baseline="0"/>
            <a:t>Knowledge of the tools is essential</a:t>
          </a:r>
          <a:endParaRPr lang="en-GB"/>
        </a:p>
      </dgm:t>
    </dgm:pt>
    <dgm:pt modelId="{4A9A63F7-3735-42EC-9BD6-E634CFD0E77F}" type="parTrans" cxnId="{64D75245-412C-47D6-8BA5-41A44FC9C9BF}">
      <dgm:prSet/>
      <dgm:spPr/>
      <dgm:t>
        <a:bodyPr/>
        <a:lstStyle/>
        <a:p>
          <a:endParaRPr lang="en-GB"/>
        </a:p>
      </dgm:t>
    </dgm:pt>
    <dgm:pt modelId="{8C08640C-867E-4818-9875-85E331059A3B}" type="sibTrans" cxnId="{64D75245-412C-47D6-8BA5-41A44FC9C9BF}">
      <dgm:prSet/>
      <dgm:spPr/>
      <dgm:t>
        <a:bodyPr/>
        <a:lstStyle/>
        <a:p>
          <a:endParaRPr lang="en-GB"/>
        </a:p>
      </dgm:t>
    </dgm:pt>
    <dgm:pt modelId="{9889989C-86C1-4690-94F2-32A3E4971172}">
      <dgm:prSet/>
      <dgm:spPr/>
      <dgm:t>
        <a:bodyPr/>
        <a:lstStyle/>
        <a:p>
          <a:r>
            <a:rPr lang="en-GB" baseline="0"/>
            <a:t>Timescales agreed while scoping</a:t>
          </a:r>
          <a:endParaRPr lang="en-GB"/>
        </a:p>
      </dgm:t>
    </dgm:pt>
    <dgm:pt modelId="{1A40DB2B-D19E-43E3-8262-79FAE4A46645}" type="parTrans" cxnId="{B2057711-7A9C-4110-B895-B588BD4CEA05}">
      <dgm:prSet/>
      <dgm:spPr/>
      <dgm:t>
        <a:bodyPr/>
        <a:lstStyle/>
        <a:p>
          <a:endParaRPr lang="en-GB"/>
        </a:p>
      </dgm:t>
    </dgm:pt>
    <dgm:pt modelId="{4A5B06FD-8E5F-4054-9D70-CEA1D976FA52}" type="sibTrans" cxnId="{B2057711-7A9C-4110-B895-B588BD4CEA05}">
      <dgm:prSet/>
      <dgm:spPr/>
      <dgm:t>
        <a:bodyPr/>
        <a:lstStyle/>
        <a:p>
          <a:endParaRPr lang="en-GB"/>
        </a:p>
      </dgm:t>
    </dgm:pt>
    <dgm:pt modelId="{BF1DEAB0-20CE-4A25-93AE-EB5EEEBE0406}" type="pres">
      <dgm:prSet presAssocID="{77C1CBD0-EC5A-4B77-9C2F-1F3893A88941}" presName="vert0" presStyleCnt="0">
        <dgm:presLayoutVars>
          <dgm:dir/>
          <dgm:animOne val="branch"/>
          <dgm:animLvl val="lvl"/>
        </dgm:presLayoutVars>
      </dgm:prSet>
      <dgm:spPr/>
    </dgm:pt>
    <dgm:pt modelId="{EEEF91EF-E637-4A3B-9973-3222CE29C674}" type="pres">
      <dgm:prSet presAssocID="{F72EE4E6-F227-4847-A127-9A6210F4C42E}" presName="thickLine" presStyleLbl="alignNode1" presStyleIdx="0" presStyleCnt="5"/>
      <dgm:spPr/>
    </dgm:pt>
    <dgm:pt modelId="{C63401B2-11B6-4B46-B51B-1AD0DB91BD88}" type="pres">
      <dgm:prSet presAssocID="{F72EE4E6-F227-4847-A127-9A6210F4C42E}" presName="horz1" presStyleCnt="0"/>
      <dgm:spPr/>
    </dgm:pt>
    <dgm:pt modelId="{A705847B-954C-4C3F-B782-C4F0EA095F1A}" type="pres">
      <dgm:prSet presAssocID="{F72EE4E6-F227-4847-A127-9A6210F4C42E}" presName="tx1" presStyleLbl="revTx" presStyleIdx="0" presStyleCnt="5"/>
      <dgm:spPr/>
    </dgm:pt>
    <dgm:pt modelId="{8957EFA5-E956-4C5A-93A7-71FD88A1384E}" type="pres">
      <dgm:prSet presAssocID="{F72EE4E6-F227-4847-A127-9A6210F4C42E}" presName="vert1" presStyleCnt="0"/>
      <dgm:spPr/>
    </dgm:pt>
    <dgm:pt modelId="{9E30970E-74A7-4662-8135-0068221A5951}" type="pres">
      <dgm:prSet presAssocID="{9DA24C95-784C-44E7-B53A-5176E8D9C4A1}" presName="thickLine" presStyleLbl="alignNode1" presStyleIdx="1" presStyleCnt="5"/>
      <dgm:spPr/>
    </dgm:pt>
    <dgm:pt modelId="{B32C6E2F-51B3-42DD-BBA8-1AE9DFE1CD6A}" type="pres">
      <dgm:prSet presAssocID="{9DA24C95-784C-44E7-B53A-5176E8D9C4A1}" presName="horz1" presStyleCnt="0"/>
      <dgm:spPr/>
    </dgm:pt>
    <dgm:pt modelId="{939ED4B0-A381-4187-AEEC-874E445597A7}" type="pres">
      <dgm:prSet presAssocID="{9DA24C95-784C-44E7-B53A-5176E8D9C4A1}" presName="tx1" presStyleLbl="revTx" presStyleIdx="1" presStyleCnt="5"/>
      <dgm:spPr/>
    </dgm:pt>
    <dgm:pt modelId="{71B10D2B-E8C5-4F44-9C7F-0B8B311547E8}" type="pres">
      <dgm:prSet presAssocID="{9DA24C95-784C-44E7-B53A-5176E8D9C4A1}" presName="vert1" presStyleCnt="0"/>
      <dgm:spPr/>
    </dgm:pt>
    <dgm:pt modelId="{FB215504-0BF6-4158-B313-08809C559D1F}" type="pres">
      <dgm:prSet presAssocID="{E4B8F65A-5A0B-4B5A-8B7A-A4FA4540DB38}" presName="thickLine" presStyleLbl="alignNode1" presStyleIdx="2" presStyleCnt="5"/>
      <dgm:spPr/>
    </dgm:pt>
    <dgm:pt modelId="{AAEC71A4-634E-422E-B56B-B307258DE122}" type="pres">
      <dgm:prSet presAssocID="{E4B8F65A-5A0B-4B5A-8B7A-A4FA4540DB38}" presName="horz1" presStyleCnt="0"/>
      <dgm:spPr/>
    </dgm:pt>
    <dgm:pt modelId="{6B4B84AF-FD42-4F51-BDC4-C7079030BFCB}" type="pres">
      <dgm:prSet presAssocID="{E4B8F65A-5A0B-4B5A-8B7A-A4FA4540DB38}" presName="tx1" presStyleLbl="revTx" presStyleIdx="2" presStyleCnt="5"/>
      <dgm:spPr/>
    </dgm:pt>
    <dgm:pt modelId="{D6A67C37-8E7C-4999-8602-9B9C7A8C5FA2}" type="pres">
      <dgm:prSet presAssocID="{E4B8F65A-5A0B-4B5A-8B7A-A4FA4540DB38}" presName="vert1" presStyleCnt="0"/>
      <dgm:spPr/>
    </dgm:pt>
    <dgm:pt modelId="{7F4CB91D-82F6-419C-8420-CBAF0D410B43}" type="pres">
      <dgm:prSet presAssocID="{EE200824-3FBB-4104-9953-4C6F78EB86A2}" presName="thickLine" presStyleLbl="alignNode1" presStyleIdx="3" presStyleCnt="5"/>
      <dgm:spPr/>
    </dgm:pt>
    <dgm:pt modelId="{67FA9F43-25A3-40B2-8B16-8233B2100EB7}" type="pres">
      <dgm:prSet presAssocID="{EE200824-3FBB-4104-9953-4C6F78EB86A2}" presName="horz1" presStyleCnt="0"/>
      <dgm:spPr/>
    </dgm:pt>
    <dgm:pt modelId="{1035022B-B9B6-44C0-9A76-90CD903366FA}" type="pres">
      <dgm:prSet presAssocID="{EE200824-3FBB-4104-9953-4C6F78EB86A2}" presName="tx1" presStyleLbl="revTx" presStyleIdx="3" presStyleCnt="5"/>
      <dgm:spPr/>
    </dgm:pt>
    <dgm:pt modelId="{7061E183-A504-40DA-B9C6-0EDE03249B3C}" type="pres">
      <dgm:prSet presAssocID="{EE200824-3FBB-4104-9953-4C6F78EB86A2}" presName="vert1" presStyleCnt="0"/>
      <dgm:spPr/>
    </dgm:pt>
    <dgm:pt modelId="{BFD125EA-DA17-43FA-A799-F735ED09E3D6}" type="pres">
      <dgm:prSet presAssocID="{9889989C-86C1-4690-94F2-32A3E4971172}" presName="thickLine" presStyleLbl="alignNode1" presStyleIdx="4" presStyleCnt="5"/>
      <dgm:spPr/>
    </dgm:pt>
    <dgm:pt modelId="{A91D0D64-4ECA-41CF-A1EC-148566045185}" type="pres">
      <dgm:prSet presAssocID="{9889989C-86C1-4690-94F2-32A3E4971172}" presName="horz1" presStyleCnt="0"/>
      <dgm:spPr/>
    </dgm:pt>
    <dgm:pt modelId="{83DDB81C-19DF-4809-AF57-E1802AE79923}" type="pres">
      <dgm:prSet presAssocID="{9889989C-86C1-4690-94F2-32A3E4971172}" presName="tx1" presStyleLbl="revTx" presStyleIdx="4" presStyleCnt="5"/>
      <dgm:spPr/>
    </dgm:pt>
    <dgm:pt modelId="{40304AEC-936A-4B15-AA69-B221E3518252}" type="pres">
      <dgm:prSet presAssocID="{9889989C-86C1-4690-94F2-32A3E4971172}" presName="vert1" presStyleCnt="0"/>
      <dgm:spPr/>
    </dgm:pt>
  </dgm:ptLst>
  <dgm:cxnLst>
    <dgm:cxn modelId="{793EDE0C-279A-4243-81BB-7FEA22BA8C8E}" type="presOf" srcId="{E4B8F65A-5A0B-4B5A-8B7A-A4FA4540DB38}" destId="{6B4B84AF-FD42-4F51-BDC4-C7079030BFCB}" srcOrd="0" destOrd="0" presId="urn:microsoft.com/office/officeart/2008/layout/LinedList"/>
    <dgm:cxn modelId="{B2057711-7A9C-4110-B895-B588BD4CEA05}" srcId="{77C1CBD0-EC5A-4B77-9C2F-1F3893A88941}" destId="{9889989C-86C1-4690-94F2-32A3E4971172}" srcOrd="4" destOrd="0" parTransId="{1A40DB2B-D19E-43E3-8262-79FAE4A46645}" sibTransId="{4A5B06FD-8E5F-4054-9D70-CEA1D976FA52}"/>
    <dgm:cxn modelId="{7DD82A12-6D1A-420F-B42D-78F742CB6C2C}" type="presOf" srcId="{EE200824-3FBB-4104-9953-4C6F78EB86A2}" destId="{1035022B-B9B6-44C0-9A76-90CD903366FA}" srcOrd="0" destOrd="0" presId="urn:microsoft.com/office/officeart/2008/layout/LinedList"/>
    <dgm:cxn modelId="{35A4302D-6826-4F74-B7E3-DD19E07CAE58}" srcId="{77C1CBD0-EC5A-4B77-9C2F-1F3893A88941}" destId="{F72EE4E6-F227-4847-A127-9A6210F4C42E}" srcOrd="0" destOrd="0" parTransId="{17115B79-CD6E-471D-A3F9-2A9308571716}" sibTransId="{00BE0843-120B-4D30-A48E-17D3F6269AA7}"/>
    <dgm:cxn modelId="{5B828630-5A6D-4FCE-9361-8158A7188BB3}" type="presOf" srcId="{9DA24C95-784C-44E7-B53A-5176E8D9C4A1}" destId="{939ED4B0-A381-4187-AEEC-874E445597A7}" srcOrd="0" destOrd="0" presId="urn:microsoft.com/office/officeart/2008/layout/LinedList"/>
    <dgm:cxn modelId="{D9AD9134-FE4E-47A3-9C0E-05045CEC20F8}" type="presOf" srcId="{F72EE4E6-F227-4847-A127-9A6210F4C42E}" destId="{A705847B-954C-4C3F-B782-C4F0EA095F1A}" srcOrd="0" destOrd="0" presId="urn:microsoft.com/office/officeart/2008/layout/LinedList"/>
    <dgm:cxn modelId="{64D75245-412C-47D6-8BA5-41A44FC9C9BF}" srcId="{77C1CBD0-EC5A-4B77-9C2F-1F3893A88941}" destId="{EE200824-3FBB-4104-9953-4C6F78EB86A2}" srcOrd="3" destOrd="0" parTransId="{4A9A63F7-3735-42EC-9BD6-E634CFD0E77F}" sibTransId="{8C08640C-867E-4818-9875-85E331059A3B}"/>
    <dgm:cxn modelId="{9148B05A-7CC4-4D27-8408-B3338592B030}" type="presOf" srcId="{77C1CBD0-EC5A-4B77-9C2F-1F3893A88941}" destId="{BF1DEAB0-20CE-4A25-93AE-EB5EEEBE0406}" srcOrd="0" destOrd="0" presId="urn:microsoft.com/office/officeart/2008/layout/LinedList"/>
    <dgm:cxn modelId="{FF9B3581-6843-4596-A99A-8CFFAB9E2D58}" srcId="{77C1CBD0-EC5A-4B77-9C2F-1F3893A88941}" destId="{E4B8F65A-5A0B-4B5A-8B7A-A4FA4540DB38}" srcOrd="2" destOrd="0" parTransId="{DB30A02C-368C-4CE9-9DB6-45F8E3441006}" sibTransId="{A12AE494-8A77-418A-AAFE-D62C6F8EE106}"/>
    <dgm:cxn modelId="{8C888CA5-5BE6-439E-96A2-3AF6D7CABE2E}" srcId="{77C1CBD0-EC5A-4B77-9C2F-1F3893A88941}" destId="{9DA24C95-784C-44E7-B53A-5176E8D9C4A1}" srcOrd="1" destOrd="0" parTransId="{8EBB05FD-B4AF-4572-B4F5-C4220847D1D6}" sibTransId="{A75E646A-DAB6-4E04-8308-B7235A4DB87C}"/>
    <dgm:cxn modelId="{3C9A2BB1-8604-4E43-86B3-C401202FE355}" type="presOf" srcId="{9889989C-86C1-4690-94F2-32A3E4971172}" destId="{83DDB81C-19DF-4809-AF57-E1802AE79923}" srcOrd="0" destOrd="0" presId="urn:microsoft.com/office/officeart/2008/layout/LinedList"/>
    <dgm:cxn modelId="{FC0FF38C-F050-49C5-8283-50311107CA9A}" type="presParOf" srcId="{BF1DEAB0-20CE-4A25-93AE-EB5EEEBE0406}" destId="{EEEF91EF-E637-4A3B-9973-3222CE29C674}" srcOrd="0" destOrd="0" presId="urn:microsoft.com/office/officeart/2008/layout/LinedList"/>
    <dgm:cxn modelId="{4983F3BF-0439-4752-91D9-48E66588048C}" type="presParOf" srcId="{BF1DEAB0-20CE-4A25-93AE-EB5EEEBE0406}" destId="{C63401B2-11B6-4B46-B51B-1AD0DB91BD88}" srcOrd="1" destOrd="0" presId="urn:microsoft.com/office/officeart/2008/layout/LinedList"/>
    <dgm:cxn modelId="{73D8B10E-D019-407A-9A68-C1E44193EAEC}" type="presParOf" srcId="{C63401B2-11B6-4B46-B51B-1AD0DB91BD88}" destId="{A705847B-954C-4C3F-B782-C4F0EA095F1A}" srcOrd="0" destOrd="0" presId="urn:microsoft.com/office/officeart/2008/layout/LinedList"/>
    <dgm:cxn modelId="{5F991235-601C-4FAA-8DA6-D2CDAEA1C963}" type="presParOf" srcId="{C63401B2-11B6-4B46-B51B-1AD0DB91BD88}" destId="{8957EFA5-E956-4C5A-93A7-71FD88A1384E}" srcOrd="1" destOrd="0" presId="urn:microsoft.com/office/officeart/2008/layout/LinedList"/>
    <dgm:cxn modelId="{B0DC9DA9-8498-42F7-835C-475C9DFF26DB}" type="presParOf" srcId="{BF1DEAB0-20CE-4A25-93AE-EB5EEEBE0406}" destId="{9E30970E-74A7-4662-8135-0068221A5951}" srcOrd="2" destOrd="0" presId="urn:microsoft.com/office/officeart/2008/layout/LinedList"/>
    <dgm:cxn modelId="{3D954451-ECA6-4D25-8E79-177CD4CCA1F9}" type="presParOf" srcId="{BF1DEAB0-20CE-4A25-93AE-EB5EEEBE0406}" destId="{B32C6E2F-51B3-42DD-BBA8-1AE9DFE1CD6A}" srcOrd="3" destOrd="0" presId="urn:microsoft.com/office/officeart/2008/layout/LinedList"/>
    <dgm:cxn modelId="{E1AE433F-C9BD-407B-93C9-B53D4F9BC61A}" type="presParOf" srcId="{B32C6E2F-51B3-42DD-BBA8-1AE9DFE1CD6A}" destId="{939ED4B0-A381-4187-AEEC-874E445597A7}" srcOrd="0" destOrd="0" presId="urn:microsoft.com/office/officeart/2008/layout/LinedList"/>
    <dgm:cxn modelId="{D0E4FD3D-7797-4898-9970-805AC6AFE62D}" type="presParOf" srcId="{B32C6E2F-51B3-42DD-BBA8-1AE9DFE1CD6A}" destId="{71B10D2B-E8C5-4F44-9C7F-0B8B311547E8}" srcOrd="1" destOrd="0" presId="urn:microsoft.com/office/officeart/2008/layout/LinedList"/>
    <dgm:cxn modelId="{C37F4E18-CE2F-4623-A198-7C7FC1EE67A5}" type="presParOf" srcId="{BF1DEAB0-20CE-4A25-93AE-EB5EEEBE0406}" destId="{FB215504-0BF6-4158-B313-08809C559D1F}" srcOrd="4" destOrd="0" presId="urn:microsoft.com/office/officeart/2008/layout/LinedList"/>
    <dgm:cxn modelId="{6F59493D-DB2B-4CD8-9360-09F9216FD4A4}" type="presParOf" srcId="{BF1DEAB0-20CE-4A25-93AE-EB5EEEBE0406}" destId="{AAEC71A4-634E-422E-B56B-B307258DE122}" srcOrd="5" destOrd="0" presId="urn:microsoft.com/office/officeart/2008/layout/LinedList"/>
    <dgm:cxn modelId="{9F981B57-C6DA-4057-907C-5DA70B10283E}" type="presParOf" srcId="{AAEC71A4-634E-422E-B56B-B307258DE122}" destId="{6B4B84AF-FD42-4F51-BDC4-C7079030BFCB}" srcOrd="0" destOrd="0" presId="urn:microsoft.com/office/officeart/2008/layout/LinedList"/>
    <dgm:cxn modelId="{7E943875-FACD-417C-A7ED-0C0B70B0CFE9}" type="presParOf" srcId="{AAEC71A4-634E-422E-B56B-B307258DE122}" destId="{D6A67C37-8E7C-4999-8602-9B9C7A8C5FA2}" srcOrd="1" destOrd="0" presId="urn:microsoft.com/office/officeart/2008/layout/LinedList"/>
    <dgm:cxn modelId="{87285C98-30D2-4E04-89CB-F43C1014B028}" type="presParOf" srcId="{BF1DEAB0-20CE-4A25-93AE-EB5EEEBE0406}" destId="{7F4CB91D-82F6-419C-8420-CBAF0D410B43}" srcOrd="6" destOrd="0" presId="urn:microsoft.com/office/officeart/2008/layout/LinedList"/>
    <dgm:cxn modelId="{0C8DF2CA-EE38-4B32-82DF-7FE88D075DDE}" type="presParOf" srcId="{BF1DEAB0-20CE-4A25-93AE-EB5EEEBE0406}" destId="{67FA9F43-25A3-40B2-8B16-8233B2100EB7}" srcOrd="7" destOrd="0" presId="urn:microsoft.com/office/officeart/2008/layout/LinedList"/>
    <dgm:cxn modelId="{2A8738CE-9E28-42D7-8145-4EEE69696A0A}" type="presParOf" srcId="{67FA9F43-25A3-40B2-8B16-8233B2100EB7}" destId="{1035022B-B9B6-44C0-9A76-90CD903366FA}" srcOrd="0" destOrd="0" presId="urn:microsoft.com/office/officeart/2008/layout/LinedList"/>
    <dgm:cxn modelId="{8C7464E1-B091-429E-A522-2481FAA6C212}" type="presParOf" srcId="{67FA9F43-25A3-40B2-8B16-8233B2100EB7}" destId="{7061E183-A504-40DA-B9C6-0EDE03249B3C}" srcOrd="1" destOrd="0" presId="urn:microsoft.com/office/officeart/2008/layout/LinedList"/>
    <dgm:cxn modelId="{6F366F26-1A85-4519-9C99-098257CF5683}" type="presParOf" srcId="{BF1DEAB0-20CE-4A25-93AE-EB5EEEBE0406}" destId="{BFD125EA-DA17-43FA-A799-F735ED09E3D6}" srcOrd="8" destOrd="0" presId="urn:microsoft.com/office/officeart/2008/layout/LinedList"/>
    <dgm:cxn modelId="{4AE8D171-71BA-40E7-97CC-E44883E41AB0}" type="presParOf" srcId="{BF1DEAB0-20CE-4A25-93AE-EB5EEEBE0406}" destId="{A91D0D64-4ECA-41CF-A1EC-148566045185}" srcOrd="9" destOrd="0" presId="urn:microsoft.com/office/officeart/2008/layout/LinedList"/>
    <dgm:cxn modelId="{DDFADA42-D8CD-4F6F-809D-40B156B21431}" type="presParOf" srcId="{A91D0D64-4ECA-41CF-A1EC-148566045185}" destId="{83DDB81C-19DF-4809-AF57-E1802AE79923}" srcOrd="0" destOrd="0" presId="urn:microsoft.com/office/officeart/2008/layout/LinedList"/>
    <dgm:cxn modelId="{FEFF615E-6832-4F35-89BB-942014F2A935}" type="presParOf" srcId="{A91D0D64-4ECA-41CF-A1EC-148566045185}" destId="{40304AEC-936A-4B15-AA69-B221E3518252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B540B54-C9FF-41FF-BD45-2C10290914EB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GB"/>
        </a:p>
      </dgm:t>
    </dgm:pt>
    <dgm:pt modelId="{D22C2D80-481C-4D1A-8118-8FD2A2F3E0B8}">
      <dgm:prSet/>
      <dgm:spPr/>
      <dgm:t>
        <a:bodyPr/>
        <a:lstStyle/>
        <a:p>
          <a:r>
            <a:rPr lang="en-GB"/>
            <a:t>Organisational/Team Budget</a:t>
          </a:r>
        </a:p>
      </dgm:t>
    </dgm:pt>
    <dgm:pt modelId="{38F7FED1-8820-48A8-B60D-C89E7AFB633F}" type="parTrans" cxnId="{765D237C-2B4B-4BA7-8189-7B7FDA4C1769}">
      <dgm:prSet/>
      <dgm:spPr/>
      <dgm:t>
        <a:bodyPr/>
        <a:lstStyle/>
        <a:p>
          <a:endParaRPr lang="en-GB"/>
        </a:p>
      </dgm:t>
    </dgm:pt>
    <dgm:pt modelId="{BA2F72A7-173B-4AA3-BFF9-4082083980EA}" type="sibTrans" cxnId="{765D237C-2B4B-4BA7-8189-7B7FDA4C1769}">
      <dgm:prSet/>
      <dgm:spPr/>
      <dgm:t>
        <a:bodyPr/>
        <a:lstStyle/>
        <a:p>
          <a:endParaRPr lang="en-GB"/>
        </a:p>
      </dgm:t>
    </dgm:pt>
    <dgm:pt modelId="{E2967758-4E76-4830-ADAA-CADF87DDD007}">
      <dgm:prSet/>
      <dgm:spPr/>
      <dgm:t>
        <a:bodyPr/>
        <a:lstStyle/>
        <a:p>
          <a:r>
            <a:rPr lang="en-GB" baseline="0"/>
            <a:t>Knowledge of the tools is essential</a:t>
          </a:r>
          <a:endParaRPr lang="en-GB"/>
        </a:p>
      </dgm:t>
    </dgm:pt>
    <dgm:pt modelId="{2ABC19DB-051B-49DF-86F1-9E954A4B0C1F}" type="parTrans" cxnId="{908BC6E7-0F31-42A4-A029-408B1F0380C0}">
      <dgm:prSet/>
      <dgm:spPr/>
      <dgm:t>
        <a:bodyPr/>
        <a:lstStyle/>
        <a:p>
          <a:endParaRPr lang="en-GB"/>
        </a:p>
      </dgm:t>
    </dgm:pt>
    <dgm:pt modelId="{55F8EB64-FB1C-4428-ABA6-985A2E30D3E0}" type="sibTrans" cxnId="{908BC6E7-0F31-42A4-A029-408B1F0380C0}">
      <dgm:prSet/>
      <dgm:spPr/>
      <dgm:t>
        <a:bodyPr/>
        <a:lstStyle/>
        <a:p>
          <a:endParaRPr lang="en-GB"/>
        </a:p>
      </dgm:t>
    </dgm:pt>
    <dgm:pt modelId="{704369F3-1F4E-493E-81BE-47D8C6C313C3}">
      <dgm:prSet/>
      <dgm:spPr/>
      <dgm:t>
        <a:bodyPr/>
        <a:lstStyle/>
        <a:p>
          <a:r>
            <a:rPr lang="en-GB" baseline="0"/>
            <a:t>Real-time</a:t>
          </a:r>
          <a:endParaRPr lang="en-GB"/>
        </a:p>
      </dgm:t>
    </dgm:pt>
    <dgm:pt modelId="{84B1C7FE-55DF-4A4D-80E9-0E48F112D310}" type="parTrans" cxnId="{D2402F3A-9F7D-4639-B75D-5B285922F27F}">
      <dgm:prSet/>
      <dgm:spPr/>
      <dgm:t>
        <a:bodyPr/>
        <a:lstStyle/>
        <a:p>
          <a:endParaRPr lang="en-GB"/>
        </a:p>
      </dgm:t>
    </dgm:pt>
    <dgm:pt modelId="{98FA3348-0069-4106-B1E5-DE355B2905ED}" type="sibTrans" cxnId="{D2402F3A-9F7D-4639-B75D-5B285922F27F}">
      <dgm:prSet/>
      <dgm:spPr/>
      <dgm:t>
        <a:bodyPr/>
        <a:lstStyle/>
        <a:p>
          <a:endParaRPr lang="en-GB"/>
        </a:p>
      </dgm:t>
    </dgm:pt>
    <dgm:pt modelId="{7FABF93B-BBE5-410A-8F49-7FEBEE3B4FDA}">
      <dgm:prSet/>
      <dgm:spPr/>
      <dgm:t>
        <a:bodyPr/>
        <a:lstStyle/>
        <a:p>
          <a:r>
            <a:rPr lang="en-GB"/>
            <a:t>Enablement hub</a:t>
          </a:r>
        </a:p>
      </dgm:t>
    </dgm:pt>
    <dgm:pt modelId="{FCFFA786-0136-464C-99EC-80E5CEC8000C}" type="parTrans" cxnId="{1DDFDF0E-679A-4F8A-8295-F9B25BEBAC68}">
      <dgm:prSet/>
      <dgm:spPr/>
      <dgm:t>
        <a:bodyPr/>
        <a:lstStyle/>
        <a:p>
          <a:endParaRPr lang="en-GB"/>
        </a:p>
      </dgm:t>
    </dgm:pt>
    <dgm:pt modelId="{F4E2B2F9-DBDB-4439-9035-D2A91D80929A}" type="sibTrans" cxnId="{1DDFDF0E-679A-4F8A-8295-F9B25BEBAC68}">
      <dgm:prSet/>
      <dgm:spPr/>
      <dgm:t>
        <a:bodyPr/>
        <a:lstStyle/>
        <a:p>
          <a:endParaRPr lang="en-GB"/>
        </a:p>
      </dgm:t>
    </dgm:pt>
    <dgm:pt modelId="{F8C2D0DE-2A74-4069-A465-1565147DC633}" type="pres">
      <dgm:prSet presAssocID="{DB540B54-C9FF-41FF-BD45-2C10290914EB}" presName="vert0" presStyleCnt="0">
        <dgm:presLayoutVars>
          <dgm:dir/>
          <dgm:animOne val="branch"/>
          <dgm:animLvl val="lvl"/>
        </dgm:presLayoutVars>
      </dgm:prSet>
      <dgm:spPr/>
    </dgm:pt>
    <dgm:pt modelId="{98F02834-CBCB-4F20-9081-85244501EA6D}" type="pres">
      <dgm:prSet presAssocID="{D22C2D80-481C-4D1A-8118-8FD2A2F3E0B8}" presName="thickLine" presStyleLbl="alignNode1" presStyleIdx="0" presStyleCnt="4"/>
      <dgm:spPr/>
    </dgm:pt>
    <dgm:pt modelId="{0E4DA240-A96D-4715-B0E2-64D7E80E6A36}" type="pres">
      <dgm:prSet presAssocID="{D22C2D80-481C-4D1A-8118-8FD2A2F3E0B8}" presName="horz1" presStyleCnt="0"/>
      <dgm:spPr/>
    </dgm:pt>
    <dgm:pt modelId="{9A559F53-78CD-4C94-AEFC-3E2E9AC66C9F}" type="pres">
      <dgm:prSet presAssocID="{D22C2D80-481C-4D1A-8118-8FD2A2F3E0B8}" presName="tx1" presStyleLbl="revTx" presStyleIdx="0" presStyleCnt="4"/>
      <dgm:spPr/>
    </dgm:pt>
    <dgm:pt modelId="{A27CDADF-F331-4AAF-9BAD-E7FA3DD415B0}" type="pres">
      <dgm:prSet presAssocID="{D22C2D80-481C-4D1A-8118-8FD2A2F3E0B8}" presName="vert1" presStyleCnt="0"/>
      <dgm:spPr/>
    </dgm:pt>
    <dgm:pt modelId="{FF06A71E-14FA-47EC-8FB2-4D2FDD190E88}" type="pres">
      <dgm:prSet presAssocID="{E2967758-4E76-4830-ADAA-CADF87DDD007}" presName="thickLine" presStyleLbl="alignNode1" presStyleIdx="1" presStyleCnt="4"/>
      <dgm:spPr/>
    </dgm:pt>
    <dgm:pt modelId="{0A4FEB92-E3B7-4224-9600-384E0FE1BB81}" type="pres">
      <dgm:prSet presAssocID="{E2967758-4E76-4830-ADAA-CADF87DDD007}" presName="horz1" presStyleCnt="0"/>
      <dgm:spPr/>
    </dgm:pt>
    <dgm:pt modelId="{F94A0456-5643-4D9D-8AD4-1415FD37B238}" type="pres">
      <dgm:prSet presAssocID="{E2967758-4E76-4830-ADAA-CADF87DDD007}" presName="tx1" presStyleLbl="revTx" presStyleIdx="1" presStyleCnt="4"/>
      <dgm:spPr/>
    </dgm:pt>
    <dgm:pt modelId="{30C9D6B3-3091-4801-9BFD-31F169ED89F0}" type="pres">
      <dgm:prSet presAssocID="{E2967758-4E76-4830-ADAA-CADF87DDD007}" presName="vert1" presStyleCnt="0"/>
      <dgm:spPr/>
    </dgm:pt>
    <dgm:pt modelId="{56275ED5-7C28-4C1F-869C-8E9DDDE9C9D1}" type="pres">
      <dgm:prSet presAssocID="{704369F3-1F4E-493E-81BE-47D8C6C313C3}" presName="thickLine" presStyleLbl="alignNode1" presStyleIdx="2" presStyleCnt="4"/>
      <dgm:spPr/>
    </dgm:pt>
    <dgm:pt modelId="{55450FAA-AFB4-4DD7-9EDE-EC399375A4C1}" type="pres">
      <dgm:prSet presAssocID="{704369F3-1F4E-493E-81BE-47D8C6C313C3}" presName="horz1" presStyleCnt="0"/>
      <dgm:spPr/>
    </dgm:pt>
    <dgm:pt modelId="{8AE9A74B-8193-42E5-9DD3-04AF11B31DFA}" type="pres">
      <dgm:prSet presAssocID="{704369F3-1F4E-493E-81BE-47D8C6C313C3}" presName="tx1" presStyleLbl="revTx" presStyleIdx="2" presStyleCnt="4"/>
      <dgm:spPr/>
    </dgm:pt>
    <dgm:pt modelId="{E30AC232-655E-4C4C-B631-CB353F224D96}" type="pres">
      <dgm:prSet presAssocID="{704369F3-1F4E-493E-81BE-47D8C6C313C3}" presName="vert1" presStyleCnt="0"/>
      <dgm:spPr/>
    </dgm:pt>
    <dgm:pt modelId="{2FCACA5A-A395-4758-8AC1-B69EA2406415}" type="pres">
      <dgm:prSet presAssocID="{7FABF93B-BBE5-410A-8F49-7FEBEE3B4FDA}" presName="thickLine" presStyleLbl="alignNode1" presStyleIdx="3" presStyleCnt="4"/>
      <dgm:spPr/>
    </dgm:pt>
    <dgm:pt modelId="{36741B5A-49A5-4D5F-AD3A-416F9BFD14C0}" type="pres">
      <dgm:prSet presAssocID="{7FABF93B-BBE5-410A-8F49-7FEBEE3B4FDA}" presName="horz1" presStyleCnt="0"/>
      <dgm:spPr/>
    </dgm:pt>
    <dgm:pt modelId="{F26237FF-AC1D-446F-8B49-8F44033CB533}" type="pres">
      <dgm:prSet presAssocID="{7FABF93B-BBE5-410A-8F49-7FEBEE3B4FDA}" presName="tx1" presStyleLbl="revTx" presStyleIdx="3" presStyleCnt="4"/>
      <dgm:spPr/>
    </dgm:pt>
    <dgm:pt modelId="{63FE0226-369B-4EF5-8691-B46C63490857}" type="pres">
      <dgm:prSet presAssocID="{7FABF93B-BBE5-410A-8F49-7FEBEE3B4FDA}" presName="vert1" presStyleCnt="0"/>
      <dgm:spPr/>
    </dgm:pt>
  </dgm:ptLst>
  <dgm:cxnLst>
    <dgm:cxn modelId="{1DDFDF0E-679A-4F8A-8295-F9B25BEBAC68}" srcId="{DB540B54-C9FF-41FF-BD45-2C10290914EB}" destId="{7FABF93B-BBE5-410A-8F49-7FEBEE3B4FDA}" srcOrd="3" destOrd="0" parTransId="{FCFFA786-0136-464C-99EC-80E5CEC8000C}" sibTransId="{F4E2B2F9-DBDB-4439-9035-D2A91D80929A}"/>
    <dgm:cxn modelId="{D2402F3A-9F7D-4639-B75D-5B285922F27F}" srcId="{DB540B54-C9FF-41FF-BD45-2C10290914EB}" destId="{704369F3-1F4E-493E-81BE-47D8C6C313C3}" srcOrd="2" destOrd="0" parTransId="{84B1C7FE-55DF-4A4D-80E9-0E48F112D310}" sibTransId="{98FA3348-0069-4106-B1E5-DE355B2905ED}"/>
    <dgm:cxn modelId="{EDA4C946-C579-4769-8900-1CFED6403E79}" type="presOf" srcId="{E2967758-4E76-4830-ADAA-CADF87DDD007}" destId="{F94A0456-5643-4D9D-8AD4-1415FD37B238}" srcOrd="0" destOrd="0" presId="urn:microsoft.com/office/officeart/2008/layout/LinedList"/>
    <dgm:cxn modelId="{2DDD3473-93A8-44D5-96F0-F21F79FE84CE}" type="presOf" srcId="{DB540B54-C9FF-41FF-BD45-2C10290914EB}" destId="{F8C2D0DE-2A74-4069-A465-1565147DC633}" srcOrd="0" destOrd="0" presId="urn:microsoft.com/office/officeart/2008/layout/LinedList"/>
    <dgm:cxn modelId="{765D237C-2B4B-4BA7-8189-7B7FDA4C1769}" srcId="{DB540B54-C9FF-41FF-BD45-2C10290914EB}" destId="{D22C2D80-481C-4D1A-8118-8FD2A2F3E0B8}" srcOrd="0" destOrd="0" parTransId="{38F7FED1-8820-48A8-B60D-C89E7AFB633F}" sibTransId="{BA2F72A7-173B-4AA3-BFF9-4082083980EA}"/>
    <dgm:cxn modelId="{5842709E-6EFD-4325-89CA-56367FD43E50}" type="presOf" srcId="{D22C2D80-481C-4D1A-8118-8FD2A2F3E0B8}" destId="{9A559F53-78CD-4C94-AEFC-3E2E9AC66C9F}" srcOrd="0" destOrd="0" presId="urn:microsoft.com/office/officeart/2008/layout/LinedList"/>
    <dgm:cxn modelId="{684330C3-7360-4DAA-84F0-7F07F5E8E1CB}" type="presOf" srcId="{7FABF93B-BBE5-410A-8F49-7FEBEE3B4FDA}" destId="{F26237FF-AC1D-446F-8B49-8F44033CB533}" srcOrd="0" destOrd="0" presId="urn:microsoft.com/office/officeart/2008/layout/LinedList"/>
    <dgm:cxn modelId="{908BC6E7-0F31-42A4-A029-408B1F0380C0}" srcId="{DB540B54-C9FF-41FF-BD45-2C10290914EB}" destId="{E2967758-4E76-4830-ADAA-CADF87DDD007}" srcOrd="1" destOrd="0" parTransId="{2ABC19DB-051B-49DF-86F1-9E954A4B0C1F}" sibTransId="{55F8EB64-FB1C-4428-ABA6-985A2E30D3E0}"/>
    <dgm:cxn modelId="{5667F7F8-C46E-469C-A7EA-AB26F3338CEF}" type="presOf" srcId="{704369F3-1F4E-493E-81BE-47D8C6C313C3}" destId="{8AE9A74B-8193-42E5-9DD3-04AF11B31DFA}" srcOrd="0" destOrd="0" presId="urn:microsoft.com/office/officeart/2008/layout/LinedList"/>
    <dgm:cxn modelId="{5D762F82-AD7C-46AB-82DE-B0A208ECBDC5}" type="presParOf" srcId="{F8C2D0DE-2A74-4069-A465-1565147DC633}" destId="{98F02834-CBCB-4F20-9081-85244501EA6D}" srcOrd="0" destOrd="0" presId="urn:microsoft.com/office/officeart/2008/layout/LinedList"/>
    <dgm:cxn modelId="{E96323B2-B3D5-4D0E-8774-F5B0F450CC5A}" type="presParOf" srcId="{F8C2D0DE-2A74-4069-A465-1565147DC633}" destId="{0E4DA240-A96D-4715-B0E2-64D7E80E6A36}" srcOrd="1" destOrd="0" presId="urn:microsoft.com/office/officeart/2008/layout/LinedList"/>
    <dgm:cxn modelId="{7EBEF751-E6B0-45D6-90F6-139008386935}" type="presParOf" srcId="{0E4DA240-A96D-4715-B0E2-64D7E80E6A36}" destId="{9A559F53-78CD-4C94-AEFC-3E2E9AC66C9F}" srcOrd="0" destOrd="0" presId="urn:microsoft.com/office/officeart/2008/layout/LinedList"/>
    <dgm:cxn modelId="{FA9EA6E0-1D8B-4CF1-9B42-6674674822D8}" type="presParOf" srcId="{0E4DA240-A96D-4715-B0E2-64D7E80E6A36}" destId="{A27CDADF-F331-4AAF-9BAD-E7FA3DD415B0}" srcOrd="1" destOrd="0" presId="urn:microsoft.com/office/officeart/2008/layout/LinedList"/>
    <dgm:cxn modelId="{C66F1D0E-46C4-4F61-A8A4-13FFADDE9329}" type="presParOf" srcId="{F8C2D0DE-2A74-4069-A465-1565147DC633}" destId="{FF06A71E-14FA-47EC-8FB2-4D2FDD190E88}" srcOrd="2" destOrd="0" presId="urn:microsoft.com/office/officeart/2008/layout/LinedList"/>
    <dgm:cxn modelId="{1CD73B70-3498-402A-BDCD-2AA96E8BBCFA}" type="presParOf" srcId="{F8C2D0DE-2A74-4069-A465-1565147DC633}" destId="{0A4FEB92-E3B7-4224-9600-384E0FE1BB81}" srcOrd="3" destOrd="0" presId="urn:microsoft.com/office/officeart/2008/layout/LinedList"/>
    <dgm:cxn modelId="{EA2245E3-D31D-433B-B06E-7313E823F673}" type="presParOf" srcId="{0A4FEB92-E3B7-4224-9600-384E0FE1BB81}" destId="{F94A0456-5643-4D9D-8AD4-1415FD37B238}" srcOrd="0" destOrd="0" presId="urn:microsoft.com/office/officeart/2008/layout/LinedList"/>
    <dgm:cxn modelId="{BD9ADA9E-DA93-418B-9244-2A681EDF528C}" type="presParOf" srcId="{0A4FEB92-E3B7-4224-9600-384E0FE1BB81}" destId="{30C9D6B3-3091-4801-9BFD-31F169ED89F0}" srcOrd="1" destOrd="0" presId="urn:microsoft.com/office/officeart/2008/layout/LinedList"/>
    <dgm:cxn modelId="{C6CE46EA-9675-4AD3-A635-E3F270D0E269}" type="presParOf" srcId="{F8C2D0DE-2A74-4069-A465-1565147DC633}" destId="{56275ED5-7C28-4C1F-869C-8E9DDDE9C9D1}" srcOrd="4" destOrd="0" presId="urn:microsoft.com/office/officeart/2008/layout/LinedList"/>
    <dgm:cxn modelId="{4ED4E61E-1FCE-4F2E-93D7-5063E3E5CDAC}" type="presParOf" srcId="{F8C2D0DE-2A74-4069-A465-1565147DC633}" destId="{55450FAA-AFB4-4DD7-9EDE-EC399375A4C1}" srcOrd="5" destOrd="0" presId="urn:microsoft.com/office/officeart/2008/layout/LinedList"/>
    <dgm:cxn modelId="{FF025D37-4821-4ADB-A478-65EAC41BC7B9}" type="presParOf" srcId="{55450FAA-AFB4-4DD7-9EDE-EC399375A4C1}" destId="{8AE9A74B-8193-42E5-9DD3-04AF11B31DFA}" srcOrd="0" destOrd="0" presId="urn:microsoft.com/office/officeart/2008/layout/LinedList"/>
    <dgm:cxn modelId="{B790AB39-8E6E-4E19-B6DE-24B562818211}" type="presParOf" srcId="{55450FAA-AFB4-4DD7-9EDE-EC399375A4C1}" destId="{E30AC232-655E-4C4C-B631-CB353F224D96}" srcOrd="1" destOrd="0" presId="urn:microsoft.com/office/officeart/2008/layout/LinedList"/>
    <dgm:cxn modelId="{C50538CA-C34E-4728-A03F-DEC9D6267F37}" type="presParOf" srcId="{F8C2D0DE-2A74-4069-A465-1565147DC633}" destId="{2FCACA5A-A395-4758-8AC1-B69EA2406415}" srcOrd="6" destOrd="0" presId="urn:microsoft.com/office/officeart/2008/layout/LinedList"/>
    <dgm:cxn modelId="{9E3592A5-8BB0-4A04-9E93-529B288BD87B}" type="presParOf" srcId="{F8C2D0DE-2A74-4069-A465-1565147DC633}" destId="{36741B5A-49A5-4D5F-AD3A-416F9BFD14C0}" srcOrd="7" destOrd="0" presId="urn:microsoft.com/office/officeart/2008/layout/LinedList"/>
    <dgm:cxn modelId="{95EC2185-A716-404B-ADA1-8728A9FAC4FD}" type="presParOf" srcId="{36741B5A-49A5-4D5F-AD3A-416F9BFD14C0}" destId="{F26237FF-AC1D-446F-8B49-8F44033CB533}" srcOrd="0" destOrd="0" presId="urn:microsoft.com/office/officeart/2008/layout/LinedList"/>
    <dgm:cxn modelId="{8172AC0D-6CFC-448C-902A-60E334B5F8D7}" type="presParOf" srcId="{36741B5A-49A5-4D5F-AD3A-416F9BFD14C0}" destId="{63FE0226-369B-4EF5-8691-B46C63490857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67B0CB9-9B51-4FFD-BBD2-C52EA36F729C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GB"/>
        </a:p>
      </dgm:t>
    </dgm:pt>
    <dgm:pt modelId="{4FD6B9C7-27A2-400A-982A-4558E4E1C0A1}">
      <dgm:prSet/>
      <dgm:spPr/>
      <dgm:t>
        <a:bodyPr/>
        <a:lstStyle/>
        <a:p>
          <a:r>
            <a:rPr lang="en-GB" baseline="0"/>
            <a:t>Microsoft Power BI Support</a:t>
          </a:r>
          <a:endParaRPr lang="en-GB"/>
        </a:p>
      </dgm:t>
    </dgm:pt>
    <dgm:pt modelId="{721E416F-93B5-46A9-87D6-440EB82ADBB2}" type="parTrans" cxnId="{8673FBA0-7D2D-4884-BCFD-A0DD4EDAD814}">
      <dgm:prSet/>
      <dgm:spPr/>
      <dgm:t>
        <a:bodyPr/>
        <a:lstStyle/>
        <a:p>
          <a:endParaRPr lang="en-GB"/>
        </a:p>
      </dgm:t>
    </dgm:pt>
    <dgm:pt modelId="{1C864896-F4B6-49E8-ACD9-7001ABEC37F3}" type="sibTrans" cxnId="{8673FBA0-7D2D-4884-BCFD-A0DD4EDAD814}">
      <dgm:prSet/>
      <dgm:spPr/>
      <dgm:t>
        <a:bodyPr/>
        <a:lstStyle/>
        <a:p>
          <a:endParaRPr lang="en-GB"/>
        </a:p>
      </dgm:t>
    </dgm:pt>
    <dgm:pt modelId="{50BD066E-B168-4A9F-B738-94C4921AF636}">
      <dgm:prSet/>
      <dgm:spPr/>
      <dgm:t>
        <a:bodyPr/>
        <a:lstStyle/>
        <a:p>
          <a:r>
            <a:rPr lang="en-GB"/>
            <a:t>Microsoft Premier Support</a:t>
          </a:r>
        </a:p>
      </dgm:t>
    </dgm:pt>
    <dgm:pt modelId="{FFB401D7-D81C-44C7-8B0C-1AF5DE018617}" type="parTrans" cxnId="{3C18ACC0-FABE-4370-A0DB-2E8043D0E751}">
      <dgm:prSet/>
      <dgm:spPr/>
      <dgm:t>
        <a:bodyPr/>
        <a:lstStyle/>
        <a:p>
          <a:endParaRPr lang="en-GB"/>
        </a:p>
      </dgm:t>
    </dgm:pt>
    <dgm:pt modelId="{E3B491BA-3E8B-49C9-A862-5D5456A696F3}" type="sibTrans" cxnId="{3C18ACC0-FABE-4370-A0DB-2E8043D0E751}">
      <dgm:prSet/>
      <dgm:spPr/>
      <dgm:t>
        <a:bodyPr/>
        <a:lstStyle/>
        <a:p>
          <a:endParaRPr lang="en-GB"/>
        </a:p>
      </dgm:t>
    </dgm:pt>
    <dgm:pt modelId="{772FA0C7-01C8-4398-A247-6050E71A33D5}">
      <dgm:prSet/>
      <dgm:spPr/>
      <dgm:t>
        <a:bodyPr/>
        <a:lstStyle/>
        <a:p>
          <a:r>
            <a:rPr lang="en-GB"/>
            <a:t>Internal Infrastructure Support</a:t>
          </a:r>
        </a:p>
      </dgm:t>
    </dgm:pt>
    <dgm:pt modelId="{117745DA-A0FC-4399-84FB-C5F95B3B7795}" type="parTrans" cxnId="{18ABFDA2-7BF7-422A-B785-AB774C2B70B0}">
      <dgm:prSet/>
      <dgm:spPr/>
      <dgm:t>
        <a:bodyPr/>
        <a:lstStyle/>
        <a:p>
          <a:endParaRPr lang="en-GB"/>
        </a:p>
      </dgm:t>
    </dgm:pt>
    <dgm:pt modelId="{A3E61259-3EE9-4016-BE32-6546C8503C44}" type="sibTrans" cxnId="{18ABFDA2-7BF7-422A-B785-AB774C2B70B0}">
      <dgm:prSet/>
      <dgm:spPr/>
      <dgm:t>
        <a:bodyPr/>
        <a:lstStyle/>
        <a:p>
          <a:endParaRPr lang="en-GB"/>
        </a:p>
      </dgm:t>
    </dgm:pt>
    <dgm:pt modelId="{D5AEFA17-6CC4-4B37-803F-F667F19479FC}">
      <dgm:prSet/>
      <dgm:spPr/>
      <dgm:t>
        <a:bodyPr/>
        <a:lstStyle/>
        <a:p>
          <a:r>
            <a:rPr lang="en-GB" baseline="0"/>
            <a:t>Internal </a:t>
          </a:r>
          <a:r>
            <a:rPr lang="en-GB"/>
            <a:t>BI </a:t>
          </a:r>
          <a:r>
            <a:rPr lang="en-GB" baseline="0"/>
            <a:t>Support team</a:t>
          </a:r>
          <a:endParaRPr lang="en-GB"/>
        </a:p>
      </dgm:t>
    </dgm:pt>
    <dgm:pt modelId="{710AE283-F34F-4E7E-9BE0-6921F686400B}" type="parTrans" cxnId="{D178A3BB-C7A3-46BB-97CB-085E9381A335}">
      <dgm:prSet/>
      <dgm:spPr/>
      <dgm:t>
        <a:bodyPr/>
        <a:lstStyle/>
        <a:p>
          <a:endParaRPr lang="en-GB"/>
        </a:p>
      </dgm:t>
    </dgm:pt>
    <dgm:pt modelId="{CD0E0438-10B6-41E7-926F-70C4E940215A}" type="sibTrans" cxnId="{D178A3BB-C7A3-46BB-97CB-085E9381A335}">
      <dgm:prSet/>
      <dgm:spPr/>
      <dgm:t>
        <a:bodyPr/>
        <a:lstStyle/>
        <a:p>
          <a:endParaRPr lang="en-GB"/>
        </a:p>
      </dgm:t>
    </dgm:pt>
    <dgm:pt modelId="{1C04879E-AB40-4A7E-9DB2-E6E4342EDAAB}">
      <dgm:prSet/>
      <dgm:spPr/>
      <dgm:t>
        <a:bodyPr/>
        <a:lstStyle/>
        <a:p>
          <a:r>
            <a:rPr lang="en-GB" baseline="0"/>
            <a:t>Partners</a:t>
          </a:r>
          <a:endParaRPr lang="en-GB"/>
        </a:p>
      </dgm:t>
    </dgm:pt>
    <dgm:pt modelId="{DC740E1F-ABB4-49A4-8D06-B1723CA2FDC4}" type="parTrans" cxnId="{DBFC5135-BEE7-4A76-BD28-602244588BAC}">
      <dgm:prSet/>
      <dgm:spPr/>
      <dgm:t>
        <a:bodyPr/>
        <a:lstStyle/>
        <a:p>
          <a:endParaRPr lang="en-GB"/>
        </a:p>
      </dgm:t>
    </dgm:pt>
    <dgm:pt modelId="{D1EC0F7F-3535-436A-B1FD-1B80143D65D6}" type="sibTrans" cxnId="{DBFC5135-BEE7-4A76-BD28-602244588BAC}">
      <dgm:prSet/>
      <dgm:spPr/>
      <dgm:t>
        <a:bodyPr/>
        <a:lstStyle/>
        <a:p>
          <a:endParaRPr lang="en-GB"/>
        </a:p>
      </dgm:t>
    </dgm:pt>
    <dgm:pt modelId="{40A43185-2661-4208-994C-8FEE49C1CBB5}" type="pres">
      <dgm:prSet presAssocID="{467B0CB9-9B51-4FFD-BBD2-C52EA36F729C}" presName="vert0" presStyleCnt="0">
        <dgm:presLayoutVars>
          <dgm:dir/>
          <dgm:animOne val="branch"/>
          <dgm:animLvl val="lvl"/>
        </dgm:presLayoutVars>
      </dgm:prSet>
      <dgm:spPr/>
    </dgm:pt>
    <dgm:pt modelId="{D98D9C7C-456B-46DE-AAAF-558FD4A7C430}" type="pres">
      <dgm:prSet presAssocID="{4FD6B9C7-27A2-400A-982A-4558E4E1C0A1}" presName="thickLine" presStyleLbl="alignNode1" presStyleIdx="0" presStyleCnt="5"/>
      <dgm:spPr/>
    </dgm:pt>
    <dgm:pt modelId="{F82E0BB0-F4DA-4284-A22D-944CE45C2DE7}" type="pres">
      <dgm:prSet presAssocID="{4FD6B9C7-27A2-400A-982A-4558E4E1C0A1}" presName="horz1" presStyleCnt="0"/>
      <dgm:spPr/>
    </dgm:pt>
    <dgm:pt modelId="{AE326432-8F77-4ECD-86FF-5315045F74A5}" type="pres">
      <dgm:prSet presAssocID="{4FD6B9C7-27A2-400A-982A-4558E4E1C0A1}" presName="tx1" presStyleLbl="revTx" presStyleIdx="0" presStyleCnt="5"/>
      <dgm:spPr/>
    </dgm:pt>
    <dgm:pt modelId="{F0DAE363-7730-400F-9741-1E754ADAF329}" type="pres">
      <dgm:prSet presAssocID="{4FD6B9C7-27A2-400A-982A-4558E4E1C0A1}" presName="vert1" presStyleCnt="0"/>
      <dgm:spPr/>
    </dgm:pt>
    <dgm:pt modelId="{97B55514-930C-4C83-B209-4863489C152A}" type="pres">
      <dgm:prSet presAssocID="{50BD066E-B168-4A9F-B738-94C4921AF636}" presName="thickLine" presStyleLbl="alignNode1" presStyleIdx="1" presStyleCnt="5"/>
      <dgm:spPr/>
    </dgm:pt>
    <dgm:pt modelId="{29B25FF6-4787-4AF1-AA28-CBA0A1CDB9C3}" type="pres">
      <dgm:prSet presAssocID="{50BD066E-B168-4A9F-B738-94C4921AF636}" presName="horz1" presStyleCnt="0"/>
      <dgm:spPr/>
    </dgm:pt>
    <dgm:pt modelId="{96158A5B-F572-4511-A44B-839CE2C37E9F}" type="pres">
      <dgm:prSet presAssocID="{50BD066E-B168-4A9F-B738-94C4921AF636}" presName="tx1" presStyleLbl="revTx" presStyleIdx="1" presStyleCnt="5"/>
      <dgm:spPr/>
    </dgm:pt>
    <dgm:pt modelId="{74C70503-9375-4A10-B4E8-60B253166EFE}" type="pres">
      <dgm:prSet presAssocID="{50BD066E-B168-4A9F-B738-94C4921AF636}" presName="vert1" presStyleCnt="0"/>
      <dgm:spPr/>
    </dgm:pt>
    <dgm:pt modelId="{BF4C87AC-510F-4C92-9752-6070B67765A0}" type="pres">
      <dgm:prSet presAssocID="{772FA0C7-01C8-4398-A247-6050E71A33D5}" presName="thickLine" presStyleLbl="alignNode1" presStyleIdx="2" presStyleCnt="5"/>
      <dgm:spPr/>
    </dgm:pt>
    <dgm:pt modelId="{954682BB-54FC-4CD8-A244-7BE7FE163665}" type="pres">
      <dgm:prSet presAssocID="{772FA0C7-01C8-4398-A247-6050E71A33D5}" presName="horz1" presStyleCnt="0"/>
      <dgm:spPr/>
    </dgm:pt>
    <dgm:pt modelId="{994EDD0F-AB4B-4FEF-BD77-351D6288B8AC}" type="pres">
      <dgm:prSet presAssocID="{772FA0C7-01C8-4398-A247-6050E71A33D5}" presName="tx1" presStyleLbl="revTx" presStyleIdx="2" presStyleCnt="5"/>
      <dgm:spPr/>
    </dgm:pt>
    <dgm:pt modelId="{F63B7CC8-C4B2-47D2-835D-5B54EE814DEA}" type="pres">
      <dgm:prSet presAssocID="{772FA0C7-01C8-4398-A247-6050E71A33D5}" presName="vert1" presStyleCnt="0"/>
      <dgm:spPr/>
    </dgm:pt>
    <dgm:pt modelId="{E20E6410-8B6A-4935-91C4-AFE704E44549}" type="pres">
      <dgm:prSet presAssocID="{D5AEFA17-6CC4-4B37-803F-F667F19479FC}" presName="thickLine" presStyleLbl="alignNode1" presStyleIdx="3" presStyleCnt="5"/>
      <dgm:spPr/>
    </dgm:pt>
    <dgm:pt modelId="{9BADB7C7-1762-49B4-A05F-F986B0343B88}" type="pres">
      <dgm:prSet presAssocID="{D5AEFA17-6CC4-4B37-803F-F667F19479FC}" presName="horz1" presStyleCnt="0"/>
      <dgm:spPr/>
    </dgm:pt>
    <dgm:pt modelId="{447CAD45-7BB4-4A31-9EE3-D038B809AE2C}" type="pres">
      <dgm:prSet presAssocID="{D5AEFA17-6CC4-4B37-803F-F667F19479FC}" presName="tx1" presStyleLbl="revTx" presStyleIdx="3" presStyleCnt="5"/>
      <dgm:spPr/>
    </dgm:pt>
    <dgm:pt modelId="{27FC9D4E-CBBC-4652-8812-5B94C029FC78}" type="pres">
      <dgm:prSet presAssocID="{D5AEFA17-6CC4-4B37-803F-F667F19479FC}" presName="vert1" presStyleCnt="0"/>
      <dgm:spPr/>
    </dgm:pt>
    <dgm:pt modelId="{5051F06A-A961-4182-A72D-9B6A9B561034}" type="pres">
      <dgm:prSet presAssocID="{1C04879E-AB40-4A7E-9DB2-E6E4342EDAAB}" presName="thickLine" presStyleLbl="alignNode1" presStyleIdx="4" presStyleCnt="5"/>
      <dgm:spPr/>
    </dgm:pt>
    <dgm:pt modelId="{D84B7B76-0875-4FC8-A6D3-A9186F7F3010}" type="pres">
      <dgm:prSet presAssocID="{1C04879E-AB40-4A7E-9DB2-E6E4342EDAAB}" presName="horz1" presStyleCnt="0"/>
      <dgm:spPr/>
    </dgm:pt>
    <dgm:pt modelId="{03D2AAE9-9095-41FF-8026-EE8630118A30}" type="pres">
      <dgm:prSet presAssocID="{1C04879E-AB40-4A7E-9DB2-E6E4342EDAAB}" presName="tx1" presStyleLbl="revTx" presStyleIdx="4" presStyleCnt="5"/>
      <dgm:spPr/>
    </dgm:pt>
    <dgm:pt modelId="{8F7F1154-A672-4F66-A9C7-148B426F90B5}" type="pres">
      <dgm:prSet presAssocID="{1C04879E-AB40-4A7E-9DB2-E6E4342EDAAB}" presName="vert1" presStyleCnt="0"/>
      <dgm:spPr/>
    </dgm:pt>
  </dgm:ptLst>
  <dgm:cxnLst>
    <dgm:cxn modelId="{CE75BD1A-B513-4B4F-A073-D0E4B99FA02D}" type="presOf" srcId="{D5AEFA17-6CC4-4B37-803F-F667F19479FC}" destId="{447CAD45-7BB4-4A31-9EE3-D038B809AE2C}" srcOrd="0" destOrd="0" presId="urn:microsoft.com/office/officeart/2008/layout/LinedList"/>
    <dgm:cxn modelId="{DBFC5135-BEE7-4A76-BD28-602244588BAC}" srcId="{467B0CB9-9B51-4FFD-BBD2-C52EA36F729C}" destId="{1C04879E-AB40-4A7E-9DB2-E6E4342EDAAB}" srcOrd="4" destOrd="0" parTransId="{DC740E1F-ABB4-49A4-8D06-B1723CA2FDC4}" sibTransId="{D1EC0F7F-3535-436A-B1FD-1B80143D65D6}"/>
    <dgm:cxn modelId="{BFDA5F3B-2BFE-4A6B-BA23-5509BD7EBB60}" type="presOf" srcId="{4FD6B9C7-27A2-400A-982A-4558E4E1C0A1}" destId="{AE326432-8F77-4ECD-86FF-5315045F74A5}" srcOrd="0" destOrd="0" presId="urn:microsoft.com/office/officeart/2008/layout/LinedList"/>
    <dgm:cxn modelId="{D7729F56-3B7B-4C8A-8B83-6863A88C8DB3}" type="presOf" srcId="{772FA0C7-01C8-4398-A247-6050E71A33D5}" destId="{994EDD0F-AB4B-4FEF-BD77-351D6288B8AC}" srcOrd="0" destOrd="0" presId="urn:microsoft.com/office/officeart/2008/layout/LinedList"/>
    <dgm:cxn modelId="{123B2F82-3F12-489A-9D41-7363E603D8A9}" type="presOf" srcId="{1C04879E-AB40-4A7E-9DB2-E6E4342EDAAB}" destId="{03D2AAE9-9095-41FF-8026-EE8630118A30}" srcOrd="0" destOrd="0" presId="urn:microsoft.com/office/officeart/2008/layout/LinedList"/>
    <dgm:cxn modelId="{8673FBA0-7D2D-4884-BCFD-A0DD4EDAD814}" srcId="{467B0CB9-9B51-4FFD-BBD2-C52EA36F729C}" destId="{4FD6B9C7-27A2-400A-982A-4558E4E1C0A1}" srcOrd="0" destOrd="0" parTransId="{721E416F-93B5-46A9-87D6-440EB82ADBB2}" sibTransId="{1C864896-F4B6-49E8-ACD9-7001ABEC37F3}"/>
    <dgm:cxn modelId="{18ABFDA2-7BF7-422A-B785-AB774C2B70B0}" srcId="{467B0CB9-9B51-4FFD-BBD2-C52EA36F729C}" destId="{772FA0C7-01C8-4398-A247-6050E71A33D5}" srcOrd="2" destOrd="0" parTransId="{117745DA-A0FC-4399-84FB-C5F95B3B7795}" sibTransId="{A3E61259-3EE9-4016-BE32-6546C8503C44}"/>
    <dgm:cxn modelId="{DEC82EBB-D9C7-4788-8259-41E44CE6756D}" type="presOf" srcId="{467B0CB9-9B51-4FFD-BBD2-C52EA36F729C}" destId="{40A43185-2661-4208-994C-8FEE49C1CBB5}" srcOrd="0" destOrd="0" presId="urn:microsoft.com/office/officeart/2008/layout/LinedList"/>
    <dgm:cxn modelId="{D178A3BB-C7A3-46BB-97CB-085E9381A335}" srcId="{467B0CB9-9B51-4FFD-BBD2-C52EA36F729C}" destId="{D5AEFA17-6CC4-4B37-803F-F667F19479FC}" srcOrd="3" destOrd="0" parTransId="{710AE283-F34F-4E7E-9BE0-6921F686400B}" sibTransId="{CD0E0438-10B6-41E7-926F-70C4E940215A}"/>
    <dgm:cxn modelId="{3C18ACC0-FABE-4370-A0DB-2E8043D0E751}" srcId="{467B0CB9-9B51-4FFD-BBD2-C52EA36F729C}" destId="{50BD066E-B168-4A9F-B738-94C4921AF636}" srcOrd="1" destOrd="0" parTransId="{FFB401D7-D81C-44C7-8B0C-1AF5DE018617}" sibTransId="{E3B491BA-3E8B-49C9-A862-5D5456A696F3}"/>
    <dgm:cxn modelId="{582757C1-2BA2-4C28-BBC9-21DDEF156E93}" type="presOf" srcId="{50BD066E-B168-4A9F-B738-94C4921AF636}" destId="{96158A5B-F572-4511-A44B-839CE2C37E9F}" srcOrd="0" destOrd="0" presId="urn:microsoft.com/office/officeart/2008/layout/LinedList"/>
    <dgm:cxn modelId="{3B59B766-6082-4972-B6EE-543FAAFAF7FE}" type="presParOf" srcId="{40A43185-2661-4208-994C-8FEE49C1CBB5}" destId="{D98D9C7C-456B-46DE-AAAF-558FD4A7C430}" srcOrd="0" destOrd="0" presId="urn:microsoft.com/office/officeart/2008/layout/LinedList"/>
    <dgm:cxn modelId="{B97EC3B2-275C-4B2C-B1B7-D271DA684F41}" type="presParOf" srcId="{40A43185-2661-4208-994C-8FEE49C1CBB5}" destId="{F82E0BB0-F4DA-4284-A22D-944CE45C2DE7}" srcOrd="1" destOrd="0" presId="urn:microsoft.com/office/officeart/2008/layout/LinedList"/>
    <dgm:cxn modelId="{767457F9-9103-459A-8D26-A2A3167F77FB}" type="presParOf" srcId="{F82E0BB0-F4DA-4284-A22D-944CE45C2DE7}" destId="{AE326432-8F77-4ECD-86FF-5315045F74A5}" srcOrd="0" destOrd="0" presId="urn:microsoft.com/office/officeart/2008/layout/LinedList"/>
    <dgm:cxn modelId="{A1EB4C03-9130-4E23-82F9-1237CF881221}" type="presParOf" srcId="{F82E0BB0-F4DA-4284-A22D-944CE45C2DE7}" destId="{F0DAE363-7730-400F-9741-1E754ADAF329}" srcOrd="1" destOrd="0" presId="urn:microsoft.com/office/officeart/2008/layout/LinedList"/>
    <dgm:cxn modelId="{86074D7B-C1E7-4347-BEC7-E9AED36F4D5E}" type="presParOf" srcId="{40A43185-2661-4208-994C-8FEE49C1CBB5}" destId="{97B55514-930C-4C83-B209-4863489C152A}" srcOrd="2" destOrd="0" presId="urn:microsoft.com/office/officeart/2008/layout/LinedList"/>
    <dgm:cxn modelId="{241FEEA2-E74C-43F6-9F9A-4C3C788131D7}" type="presParOf" srcId="{40A43185-2661-4208-994C-8FEE49C1CBB5}" destId="{29B25FF6-4787-4AF1-AA28-CBA0A1CDB9C3}" srcOrd="3" destOrd="0" presId="urn:microsoft.com/office/officeart/2008/layout/LinedList"/>
    <dgm:cxn modelId="{F7034C3C-9D7C-4589-BB46-7B80EF61A1B3}" type="presParOf" srcId="{29B25FF6-4787-4AF1-AA28-CBA0A1CDB9C3}" destId="{96158A5B-F572-4511-A44B-839CE2C37E9F}" srcOrd="0" destOrd="0" presId="urn:microsoft.com/office/officeart/2008/layout/LinedList"/>
    <dgm:cxn modelId="{C1D3B161-DC8E-470C-87D5-F4220BC32FD6}" type="presParOf" srcId="{29B25FF6-4787-4AF1-AA28-CBA0A1CDB9C3}" destId="{74C70503-9375-4A10-B4E8-60B253166EFE}" srcOrd="1" destOrd="0" presId="urn:microsoft.com/office/officeart/2008/layout/LinedList"/>
    <dgm:cxn modelId="{695D919B-0A9A-446D-83DF-529AFA1004CA}" type="presParOf" srcId="{40A43185-2661-4208-994C-8FEE49C1CBB5}" destId="{BF4C87AC-510F-4C92-9752-6070B67765A0}" srcOrd="4" destOrd="0" presId="urn:microsoft.com/office/officeart/2008/layout/LinedList"/>
    <dgm:cxn modelId="{5A183F02-9255-4840-860A-309BD5FB12EF}" type="presParOf" srcId="{40A43185-2661-4208-994C-8FEE49C1CBB5}" destId="{954682BB-54FC-4CD8-A244-7BE7FE163665}" srcOrd="5" destOrd="0" presId="urn:microsoft.com/office/officeart/2008/layout/LinedList"/>
    <dgm:cxn modelId="{FB8D2D70-D2D7-4213-AE94-6A1433F9FF64}" type="presParOf" srcId="{954682BB-54FC-4CD8-A244-7BE7FE163665}" destId="{994EDD0F-AB4B-4FEF-BD77-351D6288B8AC}" srcOrd="0" destOrd="0" presId="urn:microsoft.com/office/officeart/2008/layout/LinedList"/>
    <dgm:cxn modelId="{48BEEC56-0AF2-4CB9-AED4-2A49D18E21F5}" type="presParOf" srcId="{954682BB-54FC-4CD8-A244-7BE7FE163665}" destId="{F63B7CC8-C4B2-47D2-835D-5B54EE814DEA}" srcOrd="1" destOrd="0" presId="urn:microsoft.com/office/officeart/2008/layout/LinedList"/>
    <dgm:cxn modelId="{E1BC2728-1C85-409A-A718-895CE2B63A20}" type="presParOf" srcId="{40A43185-2661-4208-994C-8FEE49C1CBB5}" destId="{E20E6410-8B6A-4935-91C4-AFE704E44549}" srcOrd="6" destOrd="0" presId="urn:microsoft.com/office/officeart/2008/layout/LinedList"/>
    <dgm:cxn modelId="{8F4961C1-FD3C-4B4E-AB22-BE8224495479}" type="presParOf" srcId="{40A43185-2661-4208-994C-8FEE49C1CBB5}" destId="{9BADB7C7-1762-49B4-A05F-F986B0343B88}" srcOrd="7" destOrd="0" presId="urn:microsoft.com/office/officeart/2008/layout/LinedList"/>
    <dgm:cxn modelId="{E97EDBEC-98D7-4A15-8079-70AAAE146B5F}" type="presParOf" srcId="{9BADB7C7-1762-49B4-A05F-F986B0343B88}" destId="{447CAD45-7BB4-4A31-9EE3-D038B809AE2C}" srcOrd="0" destOrd="0" presId="urn:microsoft.com/office/officeart/2008/layout/LinedList"/>
    <dgm:cxn modelId="{57CCB5F8-CB62-4232-8F6C-561AF21C1314}" type="presParOf" srcId="{9BADB7C7-1762-49B4-A05F-F986B0343B88}" destId="{27FC9D4E-CBBC-4652-8812-5B94C029FC78}" srcOrd="1" destOrd="0" presId="urn:microsoft.com/office/officeart/2008/layout/LinedList"/>
    <dgm:cxn modelId="{4474FF43-53F5-4D28-A77C-B634DEAD1E04}" type="presParOf" srcId="{40A43185-2661-4208-994C-8FEE49C1CBB5}" destId="{5051F06A-A961-4182-A72D-9B6A9B561034}" srcOrd="8" destOrd="0" presId="urn:microsoft.com/office/officeart/2008/layout/LinedList"/>
    <dgm:cxn modelId="{13A77FD8-3A28-4B0A-9422-366FDB91FDCC}" type="presParOf" srcId="{40A43185-2661-4208-994C-8FEE49C1CBB5}" destId="{D84B7B76-0875-4FC8-A6D3-A9186F7F3010}" srcOrd="9" destOrd="0" presId="urn:microsoft.com/office/officeart/2008/layout/LinedList"/>
    <dgm:cxn modelId="{7791DEED-DA32-4993-8E33-E93C5552AC28}" type="presParOf" srcId="{D84B7B76-0875-4FC8-A6D3-A9186F7F3010}" destId="{03D2AAE9-9095-41FF-8026-EE8630118A30}" srcOrd="0" destOrd="0" presId="urn:microsoft.com/office/officeart/2008/layout/LinedList"/>
    <dgm:cxn modelId="{DC34CC34-FC19-4FBE-A151-862DE1A2004E}" type="presParOf" srcId="{D84B7B76-0875-4FC8-A6D3-A9186F7F3010}" destId="{8F7F1154-A672-4F66-A9C7-148B426F90B5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27017B-F8B2-462F-93EF-0BD850EA5E91}">
      <dsp:nvSpPr>
        <dsp:cNvPr id="0" name=""/>
        <dsp:cNvSpPr/>
      </dsp:nvSpPr>
      <dsp:spPr>
        <a:xfrm>
          <a:off x="0" y="0"/>
          <a:ext cx="611806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A8DB0F-8382-4276-B2B2-73C53B676270}">
      <dsp:nvSpPr>
        <dsp:cNvPr id="0" name=""/>
        <dsp:cNvSpPr/>
      </dsp:nvSpPr>
      <dsp:spPr>
        <a:xfrm>
          <a:off x="0" y="0"/>
          <a:ext cx="6118060" cy="8529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9540" tIns="129540" rIns="129540" bIns="129540" numCol="1" spcCol="1270" anchor="t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400" kern="1200" dirty="0"/>
            <a:t>Mandatory Service</a:t>
          </a:r>
        </a:p>
      </dsp:txBody>
      <dsp:txXfrm>
        <a:off x="0" y="0"/>
        <a:ext cx="6118060" cy="852975"/>
      </dsp:txXfrm>
    </dsp:sp>
    <dsp:sp modelId="{1B127AEC-645E-4F25-AC32-48DD90541000}">
      <dsp:nvSpPr>
        <dsp:cNvPr id="0" name=""/>
        <dsp:cNvSpPr/>
      </dsp:nvSpPr>
      <dsp:spPr>
        <a:xfrm>
          <a:off x="0" y="852975"/>
          <a:ext cx="611806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63AE3A-75C4-418E-A338-9E01B0C7E514}">
      <dsp:nvSpPr>
        <dsp:cNvPr id="0" name=""/>
        <dsp:cNvSpPr/>
      </dsp:nvSpPr>
      <dsp:spPr>
        <a:xfrm>
          <a:off x="0" y="852975"/>
          <a:ext cx="6118060" cy="8529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9540" tIns="129540" rIns="129540" bIns="129540" numCol="1" spcCol="1270" anchor="t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400" kern="1200" dirty="0"/>
            <a:t>IT budget</a:t>
          </a:r>
        </a:p>
      </dsp:txBody>
      <dsp:txXfrm>
        <a:off x="0" y="852975"/>
        <a:ext cx="6118060" cy="852975"/>
      </dsp:txXfrm>
    </dsp:sp>
    <dsp:sp modelId="{CC876FB0-59DB-47C3-8E65-8EC713B59971}">
      <dsp:nvSpPr>
        <dsp:cNvPr id="0" name=""/>
        <dsp:cNvSpPr/>
      </dsp:nvSpPr>
      <dsp:spPr>
        <a:xfrm>
          <a:off x="0" y="1705951"/>
          <a:ext cx="611806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0C9387-00D1-4FAF-A636-A120B566F6F2}">
      <dsp:nvSpPr>
        <dsp:cNvPr id="0" name=""/>
        <dsp:cNvSpPr/>
      </dsp:nvSpPr>
      <dsp:spPr>
        <a:xfrm>
          <a:off x="0" y="1705951"/>
          <a:ext cx="6118060" cy="8529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9540" tIns="129540" rIns="129540" bIns="129540" numCol="1" spcCol="1270" anchor="t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400" kern="1200"/>
            <a:t>Service knowledge is essential</a:t>
          </a:r>
        </a:p>
      </dsp:txBody>
      <dsp:txXfrm>
        <a:off x="0" y="1705951"/>
        <a:ext cx="6118060" cy="852975"/>
      </dsp:txXfrm>
    </dsp:sp>
    <dsp:sp modelId="{63B561D0-EBFE-4A43-8C58-B8F95E05781D}">
      <dsp:nvSpPr>
        <dsp:cNvPr id="0" name=""/>
        <dsp:cNvSpPr/>
      </dsp:nvSpPr>
      <dsp:spPr>
        <a:xfrm>
          <a:off x="0" y="2558927"/>
          <a:ext cx="611806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86C70D-EDB2-4992-A62F-1BF2A641F06A}">
      <dsp:nvSpPr>
        <dsp:cNvPr id="0" name=""/>
        <dsp:cNvSpPr/>
      </dsp:nvSpPr>
      <dsp:spPr>
        <a:xfrm>
          <a:off x="0" y="2558927"/>
          <a:ext cx="6118060" cy="8529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9540" tIns="129540" rIns="129540" bIns="129540" numCol="1" spcCol="1270" anchor="t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400" kern="1200"/>
            <a:t>Quick turnaround/ SLAs</a:t>
          </a:r>
        </a:p>
      </dsp:txBody>
      <dsp:txXfrm>
        <a:off x="0" y="2558927"/>
        <a:ext cx="6118060" cy="85297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B85417-D219-4231-842A-2B59B33CFFF6}">
      <dsp:nvSpPr>
        <dsp:cNvPr id="0" name=""/>
        <dsp:cNvSpPr/>
      </dsp:nvSpPr>
      <dsp:spPr>
        <a:xfrm>
          <a:off x="0" y="640"/>
          <a:ext cx="725624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0C6A6F-9E02-4031-BD26-7ADB1DDE497F}">
      <dsp:nvSpPr>
        <dsp:cNvPr id="0" name=""/>
        <dsp:cNvSpPr/>
      </dsp:nvSpPr>
      <dsp:spPr>
        <a:xfrm>
          <a:off x="0" y="640"/>
          <a:ext cx="7256245" cy="10492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 baseline="0" dirty="0"/>
            <a:t>Mandatory Service</a:t>
          </a:r>
          <a:endParaRPr lang="en-GB" sz="3600" kern="1200" dirty="0"/>
        </a:p>
      </dsp:txBody>
      <dsp:txXfrm>
        <a:off x="0" y="640"/>
        <a:ext cx="7256245" cy="1049234"/>
      </dsp:txXfrm>
    </dsp:sp>
    <dsp:sp modelId="{3BF3C64D-6082-4795-8976-D3C1CD696FED}">
      <dsp:nvSpPr>
        <dsp:cNvPr id="0" name=""/>
        <dsp:cNvSpPr/>
      </dsp:nvSpPr>
      <dsp:spPr>
        <a:xfrm>
          <a:off x="0" y="1049875"/>
          <a:ext cx="725624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F8DF34-83C1-4AC2-ADD1-5B66418D74E2}">
      <dsp:nvSpPr>
        <dsp:cNvPr id="0" name=""/>
        <dsp:cNvSpPr/>
      </dsp:nvSpPr>
      <dsp:spPr>
        <a:xfrm>
          <a:off x="0" y="1049875"/>
          <a:ext cx="7256245" cy="10492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/>
            <a:t>Project budget</a:t>
          </a:r>
        </a:p>
      </dsp:txBody>
      <dsp:txXfrm>
        <a:off x="0" y="1049875"/>
        <a:ext cx="7256245" cy="1049234"/>
      </dsp:txXfrm>
    </dsp:sp>
    <dsp:sp modelId="{8062711C-88ED-4979-BAE5-F8D14443EAA0}">
      <dsp:nvSpPr>
        <dsp:cNvPr id="0" name=""/>
        <dsp:cNvSpPr/>
      </dsp:nvSpPr>
      <dsp:spPr>
        <a:xfrm>
          <a:off x="0" y="2099110"/>
          <a:ext cx="725624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B3597E-2C02-493F-98E5-CCFE3FFED3F3}">
      <dsp:nvSpPr>
        <dsp:cNvPr id="0" name=""/>
        <dsp:cNvSpPr/>
      </dsp:nvSpPr>
      <dsp:spPr>
        <a:xfrm>
          <a:off x="0" y="2099110"/>
          <a:ext cx="7256245" cy="10492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 baseline="0" dirty="0"/>
            <a:t>Project knowledge is important</a:t>
          </a:r>
          <a:endParaRPr lang="en-GB" sz="3600" kern="1200" dirty="0"/>
        </a:p>
      </dsp:txBody>
      <dsp:txXfrm>
        <a:off x="0" y="2099110"/>
        <a:ext cx="7256245" cy="1049234"/>
      </dsp:txXfrm>
    </dsp:sp>
    <dsp:sp modelId="{A73D7133-335D-4DF1-BDC2-9210287CDCC1}">
      <dsp:nvSpPr>
        <dsp:cNvPr id="0" name=""/>
        <dsp:cNvSpPr/>
      </dsp:nvSpPr>
      <dsp:spPr>
        <a:xfrm>
          <a:off x="0" y="3148344"/>
          <a:ext cx="725624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4E6819-1246-425D-AF52-5B792C5D42D3}">
      <dsp:nvSpPr>
        <dsp:cNvPr id="0" name=""/>
        <dsp:cNvSpPr/>
      </dsp:nvSpPr>
      <dsp:spPr>
        <a:xfrm>
          <a:off x="0" y="3148344"/>
          <a:ext cx="7256245" cy="10492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/>
            <a:t>Knowledge of the tools is essential</a:t>
          </a:r>
        </a:p>
      </dsp:txBody>
      <dsp:txXfrm>
        <a:off x="0" y="3148344"/>
        <a:ext cx="7256245" cy="1049234"/>
      </dsp:txXfrm>
    </dsp:sp>
    <dsp:sp modelId="{15B1A47E-E599-4241-A418-75395BCCE867}">
      <dsp:nvSpPr>
        <dsp:cNvPr id="0" name=""/>
        <dsp:cNvSpPr/>
      </dsp:nvSpPr>
      <dsp:spPr>
        <a:xfrm>
          <a:off x="0" y="4197579"/>
          <a:ext cx="725624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7D6FAC-FDA4-4DD5-ACF7-621BE3A6B493}">
      <dsp:nvSpPr>
        <dsp:cNvPr id="0" name=""/>
        <dsp:cNvSpPr/>
      </dsp:nvSpPr>
      <dsp:spPr>
        <a:xfrm>
          <a:off x="0" y="4197579"/>
          <a:ext cx="7256245" cy="10492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 baseline="0"/>
            <a:t>SLAs</a:t>
          </a:r>
          <a:endParaRPr lang="en-GB" sz="3600" kern="1200"/>
        </a:p>
      </dsp:txBody>
      <dsp:txXfrm>
        <a:off x="0" y="4197579"/>
        <a:ext cx="7256245" cy="104923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EF91EF-E637-4A3B-9973-3222CE29C674}">
      <dsp:nvSpPr>
        <dsp:cNvPr id="0" name=""/>
        <dsp:cNvSpPr/>
      </dsp:nvSpPr>
      <dsp:spPr>
        <a:xfrm>
          <a:off x="0" y="697"/>
          <a:ext cx="7206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05847B-954C-4C3F-B782-C4F0EA095F1A}">
      <dsp:nvSpPr>
        <dsp:cNvPr id="0" name=""/>
        <dsp:cNvSpPr/>
      </dsp:nvSpPr>
      <dsp:spPr>
        <a:xfrm>
          <a:off x="0" y="697"/>
          <a:ext cx="7206808" cy="11421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33350" bIns="133350" numCol="1" spcCol="1270" anchor="t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500" kern="1200" dirty="0"/>
            <a:t>P</a:t>
          </a:r>
          <a:r>
            <a:rPr lang="en-GB" sz="3500" kern="1200" baseline="0" dirty="0"/>
            <a:t>erceived as an essential service</a:t>
          </a:r>
          <a:endParaRPr lang="en-GB" sz="3500" kern="1200" dirty="0"/>
        </a:p>
      </dsp:txBody>
      <dsp:txXfrm>
        <a:off x="0" y="697"/>
        <a:ext cx="7206808" cy="1142156"/>
      </dsp:txXfrm>
    </dsp:sp>
    <dsp:sp modelId="{9E30970E-74A7-4662-8135-0068221A5951}">
      <dsp:nvSpPr>
        <dsp:cNvPr id="0" name=""/>
        <dsp:cNvSpPr/>
      </dsp:nvSpPr>
      <dsp:spPr>
        <a:xfrm>
          <a:off x="0" y="1142853"/>
          <a:ext cx="7206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9ED4B0-A381-4187-AEEC-874E445597A7}">
      <dsp:nvSpPr>
        <dsp:cNvPr id="0" name=""/>
        <dsp:cNvSpPr/>
      </dsp:nvSpPr>
      <dsp:spPr>
        <a:xfrm>
          <a:off x="0" y="1142853"/>
          <a:ext cx="7206808" cy="11421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33350" bIns="133350" numCol="1" spcCol="1270" anchor="t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500" kern="1200"/>
            <a:t>Project Budget</a:t>
          </a:r>
        </a:p>
      </dsp:txBody>
      <dsp:txXfrm>
        <a:off x="0" y="1142853"/>
        <a:ext cx="7206808" cy="1142156"/>
      </dsp:txXfrm>
    </dsp:sp>
    <dsp:sp modelId="{FB215504-0BF6-4158-B313-08809C559D1F}">
      <dsp:nvSpPr>
        <dsp:cNvPr id="0" name=""/>
        <dsp:cNvSpPr/>
      </dsp:nvSpPr>
      <dsp:spPr>
        <a:xfrm>
          <a:off x="0" y="2285010"/>
          <a:ext cx="7206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4B84AF-FD42-4F51-BDC4-C7079030BFCB}">
      <dsp:nvSpPr>
        <dsp:cNvPr id="0" name=""/>
        <dsp:cNvSpPr/>
      </dsp:nvSpPr>
      <dsp:spPr>
        <a:xfrm>
          <a:off x="0" y="2285010"/>
          <a:ext cx="7206808" cy="11421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33350" bIns="133350" numCol="1" spcCol="1270" anchor="t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500" kern="1200" baseline="0"/>
            <a:t>Project knowledge is a nice to have</a:t>
          </a:r>
          <a:endParaRPr lang="en-GB" sz="3500" kern="1200"/>
        </a:p>
      </dsp:txBody>
      <dsp:txXfrm>
        <a:off x="0" y="2285010"/>
        <a:ext cx="7206808" cy="1142156"/>
      </dsp:txXfrm>
    </dsp:sp>
    <dsp:sp modelId="{7F4CB91D-82F6-419C-8420-CBAF0D410B43}">
      <dsp:nvSpPr>
        <dsp:cNvPr id="0" name=""/>
        <dsp:cNvSpPr/>
      </dsp:nvSpPr>
      <dsp:spPr>
        <a:xfrm>
          <a:off x="0" y="3427167"/>
          <a:ext cx="7206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35022B-B9B6-44C0-9A76-90CD903366FA}">
      <dsp:nvSpPr>
        <dsp:cNvPr id="0" name=""/>
        <dsp:cNvSpPr/>
      </dsp:nvSpPr>
      <dsp:spPr>
        <a:xfrm>
          <a:off x="0" y="3427167"/>
          <a:ext cx="7206808" cy="11421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33350" bIns="133350" numCol="1" spcCol="1270" anchor="t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500" kern="1200" baseline="0"/>
            <a:t>Knowledge of the tools is essential</a:t>
          </a:r>
          <a:endParaRPr lang="en-GB" sz="3500" kern="1200"/>
        </a:p>
      </dsp:txBody>
      <dsp:txXfrm>
        <a:off x="0" y="3427167"/>
        <a:ext cx="7206808" cy="1142156"/>
      </dsp:txXfrm>
    </dsp:sp>
    <dsp:sp modelId="{BFD125EA-DA17-43FA-A799-F735ED09E3D6}">
      <dsp:nvSpPr>
        <dsp:cNvPr id="0" name=""/>
        <dsp:cNvSpPr/>
      </dsp:nvSpPr>
      <dsp:spPr>
        <a:xfrm>
          <a:off x="0" y="4569324"/>
          <a:ext cx="7206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3DDB81C-19DF-4809-AF57-E1802AE79923}">
      <dsp:nvSpPr>
        <dsp:cNvPr id="0" name=""/>
        <dsp:cNvSpPr/>
      </dsp:nvSpPr>
      <dsp:spPr>
        <a:xfrm>
          <a:off x="0" y="4569324"/>
          <a:ext cx="7206808" cy="11421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33350" bIns="133350" numCol="1" spcCol="1270" anchor="t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500" kern="1200" baseline="0"/>
            <a:t>Timescales agreed while scoping</a:t>
          </a:r>
          <a:endParaRPr lang="en-GB" sz="3500" kern="1200"/>
        </a:p>
      </dsp:txBody>
      <dsp:txXfrm>
        <a:off x="0" y="4569324"/>
        <a:ext cx="7206808" cy="114215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F02834-CBCB-4F20-9081-85244501EA6D}">
      <dsp:nvSpPr>
        <dsp:cNvPr id="0" name=""/>
        <dsp:cNvSpPr/>
      </dsp:nvSpPr>
      <dsp:spPr>
        <a:xfrm>
          <a:off x="0" y="0"/>
          <a:ext cx="68056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A559F53-78CD-4C94-AEFC-3E2E9AC66C9F}">
      <dsp:nvSpPr>
        <dsp:cNvPr id="0" name=""/>
        <dsp:cNvSpPr/>
      </dsp:nvSpPr>
      <dsp:spPr>
        <a:xfrm>
          <a:off x="0" y="0"/>
          <a:ext cx="6805612" cy="15277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marL="0" lvl="0" indent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000" kern="1200"/>
            <a:t>Organisational/Team Budget</a:t>
          </a:r>
        </a:p>
      </dsp:txBody>
      <dsp:txXfrm>
        <a:off x="0" y="0"/>
        <a:ext cx="6805612" cy="1527785"/>
      </dsp:txXfrm>
    </dsp:sp>
    <dsp:sp modelId="{FF06A71E-14FA-47EC-8FB2-4D2FDD190E88}">
      <dsp:nvSpPr>
        <dsp:cNvPr id="0" name=""/>
        <dsp:cNvSpPr/>
      </dsp:nvSpPr>
      <dsp:spPr>
        <a:xfrm>
          <a:off x="0" y="1527785"/>
          <a:ext cx="68056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94A0456-5643-4D9D-8AD4-1415FD37B238}">
      <dsp:nvSpPr>
        <dsp:cNvPr id="0" name=""/>
        <dsp:cNvSpPr/>
      </dsp:nvSpPr>
      <dsp:spPr>
        <a:xfrm>
          <a:off x="0" y="1527785"/>
          <a:ext cx="6805612" cy="15277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marL="0" lvl="0" indent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000" kern="1200" baseline="0"/>
            <a:t>Knowledge of the tools is essential</a:t>
          </a:r>
          <a:endParaRPr lang="en-GB" sz="4000" kern="1200"/>
        </a:p>
      </dsp:txBody>
      <dsp:txXfrm>
        <a:off x="0" y="1527785"/>
        <a:ext cx="6805612" cy="1527785"/>
      </dsp:txXfrm>
    </dsp:sp>
    <dsp:sp modelId="{56275ED5-7C28-4C1F-869C-8E9DDDE9C9D1}">
      <dsp:nvSpPr>
        <dsp:cNvPr id="0" name=""/>
        <dsp:cNvSpPr/>
      </dsp:nvSpPr>
      <dsp:spPr>
        <a:xfrm>
          <a:off x="0" y="3055570"/>
          <a:ext cx="68056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E9A74B-8193-42E5-9DD3-04AF11B31DFA}">
      <dsp:nvSpPr>
        <dsp:cNvPr id="0" name=""/>
        <dsp:cNvSpPr/>
      </dsp:nvSpPr>
      <dsp:spPr>
        <a:xfrm>
          <a:off x="0" y="3055570"/>
          <a:ext cx="6805612" cy="15277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marL="0" lvl="0" indent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000" kern="1200" baseline="0"/>
            <a:t>Real-time</a:t>
          </a:r>
          <a:endParaRPr lang="en-GB" sz="4000" kern="1200"/>
        </a:p>
      </dsp:txBody>
      <dsp:txXfrm>
        <a:off x="0" y="3055570"/>
        <a:ext cx="6805612" cy="1527785"/>
      </dsp:txXfrm>
    </dsp:sp>
    <dsp:sp modelId="{2FCACA5A-A395-4758-8AC1-B69EA2406415}">
      <dsp:nvSpPr>
        <dsp:cNvPr id="0" name=""/>
        <dsp:cNvSpPr/>
      </dsp:nvSpPr>
      <dsp:spPr>
        <a:xfrm>
          <a:off x="0" y="4583356"/>
          <a:ext cx="68056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6237FF-AC1D-446F-8B49-8F44033CB533}">
      <dsp:nvSpPr>
        <dsp:cNvPr id="0" name=""/>
        <dsp:cNvSpPr/>
      </dsp:nvSpPr>
      <dsp:spPr>
        <a:xfrm>
          <a:off x="0" y="4583356"/>
          <a:ext cx="6805612" cy="15277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marL="0" lvl="0" indent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000" kern="1200"/>
            <a:t>Enablement hub</a:t>
          </a:r>
        </a:p>
      </dsp:txBody>
      <dsp:txXfrm>
        <a:off x="0" y="4583356"/>
        <a:ext cx="6805612" cy="152778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8D9C7C-456B-46DE-AAAF-558FD4A7C430}">
      <dsp:nvSpPr>
        <dsp:cNvPr id="0" name=""/>
        <dsp:cNvSpPr/>
      </dsp:nvSpPr>
      <dsp:spPr>
        <a:xfrm>
          <a:off x="0" y="486"/>
          <a:ext cx="674878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326432-8F77-4ECD-86FF-5315045F74A5}">
      <dsp:nvSpPr>
        <dsp:cNvPr id="0" name=""/>
        <dsp:cNvSpPr/>
      </dsp:nvSpPr>
      <dsp:spPr>
        <a:xfrm>
          <a:off x="0" y="486"/>
          <a:ext cx="6748787" cy="7964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9540" tIns="129540" rIns="129540" bIns="129540" numCol="1" spcCol="1270" anchor="t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400" kern="1200" baseline="0"/>
            <a:t>Microsoft Power BI Support</a:t>
          </a:r>
          <a:endParaRPr lang="en-GB" sz="3400" kern="1200"/>
        </a:p>
      </dsp:txBody>
      <dsp:txXfrm>
        <a:off x="0" y="486"/>
        <a:ext cx="6748787" cy="796486"/>
      </dsp:txXfrm>
    </dsp:sp>
    <dsp:sp modelId="{97B55514-930C-4C83-B209-4863489C152A}">
      <dsp:nvSpPr>
        <dsp:cNvPr id="0" name=""/>
        <dsp:cNvSpPr/>
      </dsp:nvSpPr>
      <dsp:spPr>
        <a:xfrm>
          <a:off x="0" y="796972"/>
          <a:ext cx="674878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158A5B-F572-4511-A44B-839CE2C37E9F}">
      <dsp:nvSpPr>
        <dsp:cNvPr id="0" name=""/>
        <dsp:cNvSpPr/>
      </dsp:nvSpPr>
      <dsp:spPr>
        <a:xfrm>
          <a:off x="0" y="796972"/>
          <a:ext cx="6748787" cy="7964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9540" tIns="129540" rIns="129540" bIns="129540" numCol="1" spcCol="1270" anchor="t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400" kern="1200"/>
            <a:t>Microsoft Premier Support</a:t>
          </a:r>
        </a:p>
      </dsp:txBody>
      <dsp:txXfrm>
        <a:off x="0" y="796972"/>
        <a:ext cx="6748787" cy="796486"/>
      </dsp:txXfrm>
    </dsp:sp>
    <dsp:sp modelId="{BF4C87AC-510F-4C92-9752-6070B67765A0}">
      <dsp:nvSpPr>
        <dsp:cNvPr id="0" name=""/>
        <dsp:cNvSpPr/>
      </dsp:nvSpPr>
      <dsp:spPr>
        <a:xfrm>
          <a:off x="0" y="1593458"/>
          <a:ext cx="674878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4EDD0F-AB4B-4FEF-BD77-351D6288B8AC}">
      <dsp:nvSpPr>
        <dsp:cNvPr id="0" name=""/>
        <dsp:cNvSpPr/>
      </dsp:nvSpPr>
      <dsp:spPr>
        <a:xfrm>
          <a:off x="0" y="1593458"/>
          <a:ext cx="6748787" cy="7964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9540" tIns="129540" rIns="129540" bIns="129540" numCol="1" spcCol="1270" anchor="t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400" kern="1200"/>
            <a:t>Internal Infrastructure Support</a:t>
          </a:r>
        </a:p>
      </dsp:txBody>
      <dsp:txXfrm>
        <a:off x="0" y="1593458"/>
        <a:ext cx="6748787" cy="796486"/>
      </dsp:txXfrm>
    </dsp:sp>
    <dsp:sp modelId="{E20E6410-8B6A-4935-91C4-AFE704E44549}">
      <dsp:nvSpPr>
        <dsp:cNvPr id="0" name=""/>
        <dsp:cNvSpPr/>
      </dsp:nvSpPr>
      <dsp:spPr>
        <a:xfrm>
          <a:off x="0" y="2389945"/>
          <a:ext cx="674878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7CAD45-7BB4-4A31-9EE3-D038B809AE2C}">
      <dsp:nvSpPr>
        <dsp:cNvPr id="0" name=""/>
        <dsp:cNvSpPr/>
      </dsp:nvSpPr>
      <dsp:spPr>
        <a:xfrm>
          <a:off x="0" y="2389945"/>
          <a:ext cx="6748787" cy="7964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9540" tIns="129540" rIns="129540" bIns="129540" numCol="1" spcCol="1270" anchor="t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400" kern="1200" baseline="0"/>
            <a:t>Internal </a:t>
          </a:r>
          <a:r>
            <a:rPr lang="en-GB" sz="3400" kern="1200"/>
            <a:t>BI </a:t>
          </a:r>
          <a:r>
            <a:rPr lang="en-GB" sz="3400" kern="1200" baseline="0"/>
            <a:t>Support team</a:t>
          </a:r>
          <a:endParaRPr lang="en-GB" sz="3400" kern="1200"/>
        </a:p>
      </dsp:txBody>
      <dsp:txXfrm>
        <a:off x="0" y="2389945"/>
        <a:ext cx="6748787" cy="796486"/>
      </dsp:txXfrm>
    </dsp:sp>
    <dsp:sp modelId="{5051F06A-A961-4182-A72D-9B6A9B561034}">
      <dsp:nvSpPr>
        <dsp:cNvPr id="0" name=""/>
        <dsp:cNvSpPr/>
      </dsp:nvSpPr>
      <dsp:spPr>
        <a:xfrm>
          <a:off x="0" y="3186431"/>
          <a:ext cx="674878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D2AAE9-9095-41FF-8026-EE8630118A30}">
      <dsp:nvSpPr>
        <dsp:cNvPr id="0" name=""/>
        <dsp:cNvSpPr/>
      </dsp:nvSpPr>
      <dsp:spPr>
        <a:xfrm>
          <a:off x="0" y="3186431"/>
          <a:ext cx="6748787" cy="7964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9540" tIns="129540" rIns="129540" bIns="129540" numCol="1" spcCol="1270" anchor="t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400" kern="1200" baseline="0"/>
            <a:t>Partners</a:t>
          </a:r>
          <a:endParaRPr lang="en-GB" sz="3400" kern="1200"/>
        </a:p>
      </dsp:txBody>
      <dsp:txXfrm>
        <a:off x="0" y="3186431"/>
        <a:ext cx="6748787" cy="7964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B2D09C-E420-4905-8E74-B16C6480135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44097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74209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62353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8248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1033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3577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4518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6921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32774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4773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81A89D-8738-4ED5-BF6E-F438F4965D3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361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40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482" y="1117590"/>
            <a:ext cx="11587037" cy="1655108"/>
          </a:xfrm>
        </p:spPr>
        <p:txBody>
          <a:bodyPr anchor="b"/>
          <a:lstStyle>
            <a:lvl1pPr indent="0" algn="l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02482" y="3178513"/>
            <a:ext cx="11587037" cy="3480144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204331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>
        <p:tmplLst>
          <p:tmpl>
            <p:tnLst>
              <p:par>
                <p:cTn presetID="2" presetClass="entr" presetSubtype="4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6" name="Picture 5" descr="A picture containing plate&#10;&#10;Description automatically generated">
            <a:extLst>
              <a:ext uri="{FF2B5EF4-FFF2-40B4-BE49-F238E27FC236}">
                <a16:creationId xmlns:a16="http://schemas.microsoft.com/office/drawing/2014/main" id="{D6A85A30-250C-419D-AF40-7BE0DC23EC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542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66FC881D-83BE-4DF4-91B1-42EB97D233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E36CE3-C893-42CC-8706-D086D6C921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683832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4001" r:id="rId2"/>
    <p:sldLayoutId id="2147484109" r:id="rId3"/>
    <p:sldLayoutId id="2147484110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j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j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j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j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1.xml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2.xml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3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notesSlide" Target="../notesSlides/notesSlide4.xml"/><Relationship Id="rId7" Type="http://schemas.openxmlformats.org/officeDocument/2006/relationships/diagramColors" Target="../diagrams/colors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notesSlide" Target="../notesSlides/notesSlide5.xml"/><Relationship Id="rId7" Type="http://schemas.openxmlformats.org/officeDocument/2006/relationships/diagramColors" Target="../diagrams/colors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notesSlide" Target="../notesSlides/notesSlide7.xml"/><Relationship Id="rId7" Type="http://schemas.openxmlformats.org/officeDocument/2006/relationships/diagramColors" Target="../diagrams/colors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Power BI Suppor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 do you need to consider when someone starts / changes role?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DA0EA3-28A7-4A18-996B-647822FFB9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Actions</a:t>
            </a:r>
          </a:p>
          <a:p>
            <a:pPr lvl="2"/>
            <a:r>
              <a:rPr lang="en-GB" dirty="0">
                <a:solidFill>
                  <a:srgbClr val="EDC30D"/>
                </a:solidFill>
              </a:rPr>
              <a:t>Document user rights changes</a:t>
            </a:r>
          </a:p>
          <a:p>
            <a:pPr lvl="3"/>
            <a:r>
              <a:rPr lang="en-US" dirty="0">
                <a:solidFill>
                  <a:srgbClr val="EDC30D"/>
                </a:solidFill>
              </a:rPr>
              <a:t>User from Gateway(s) – both admins and data sources</a:t>
            </a:r>
          </a:p>
          <a:p>
            <a:pPr lvl="3"/>
            <a:r>
              <a:rPr lang="en-US" dirty="0">
                <a:solidFill>
                  <a:srgbClr val="EDC30D"/>
                </a:solidFill>
              </a:rPr>
              <a:t>Pro license</a:t>
            </a:r>
          </a:p>
          <a:p>
            <a:pPr lvl="3"/>
            <a:r>
              <a:rPr lang="en-US" dirty="0">
                <a:solidFill>
                  <a:srgbClr val="EDC30D"/>
                </a:solidFill>
              </a:rPr>
              <a:t>Rollout / Removal of Power BI Desktop</a:t>
            </a:r>
          </a:p>
          <a:p>
            <a:pPr lvl="3"/>
            <a:endParaRPr lang="en-US" dirty="0">
              <a:solidFill>
                <a:srgbClr val="EDC30D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72240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2276">
        <p:fade/>
      </p:transition>
    </mc:Choice>
    <mc:Fallback xmlns="">
      <p:transition spd="med" advTm="22276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 level of support will you give users?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29170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14938">
        <p:fade/>
      </p:transition>
    </mc:Choice>
    <mc:Fallback xmlns="">
      <p:transition spd="med" advTm="14938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o will support Power BI?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893156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Tm="23752">
        <p:fade/>
      </p:transition>
    </mc:Choice>
    <mc:Fallback xmlns="">
      <p:transition spd="med" advTm="23752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32269-2646-4E69-B292-44CEB2100E8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7543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ypes of Suppor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988326" y="812948"/>
            <a:ext cx="2497015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eak-fix</a:t>
            </a:r>
          </a:p>
        </p:txBody>
      </p:sp>
      <p:sp>
        <p:nvSpPr>
          <p:cNvPr id="8" name="Rectangle 7"/>
          <p:cNvSpPr/>
          <p:nvPr/>
        </p:nvSpPr>
        <p:spPr>
          <a:xfrm>
            <a:off x="8372460" y="3387109"/>
            <a:ext cx="314220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Minor Enhancements</a:t>
            </a:r>
            <a:endParaRPr lang="en-GB" sz="2400"/>
          </a:p>
        </p:txBody>
      </p:sp>
      <p:sp>
        <p:nvSpPr>
          <p:cNvPr id="9" name="Rectangle 8"/>
          <p:cNvSpPr/>
          <p:nvPr/>
        </p:nvSpPr>
        <p:spPr>
          <a:xfrm>
            <a:off x="9644608" y="5489561"/>
            <a:ext cx="17924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nablement</a:t>
            </a:r>
            <a:endParaRPr lang="en-GB" sz="2400" dirty="0"/>
          </a:p>
        </p:txBody>
      </p:sp>
      <p:pic>
        <p:nvPicPr>
          <p:cNvPr id="10" name="Picture 9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BD508F56-868A-45D0-935D-C8E94420CB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1853" y="518959"/>
            <a:ext cx="2908040" cy="1817525"/>
          </a:xfrm>
          <a:prstGeom prst="rect">
            <a:avLst/>
          </a:prstGeom>
        </p:spPr>
      </p:pic>
      <p:pic>
        <p:nvPicPr>
          <p:cNvPr id="12" name="Picture 11" descr="A close up of a device&#10;&#10;Description generated with very high confidence">
            <a:extLst>
              <a:ext uri="{FF2B5EF4-FFF2-40B4-BE49-F238E27FC236}">
                <a16:creationId xmlns:a16="http://schemas.microsoft.com/office/drawing/2014/main" id="{F0A0C3CB-0B4B-457A-BF5C-FDA8023A9A5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34" t="13974" r="48133" b="26088"/>
          <a:stretch/>
        </p:blipFill>
        <p:spPr>
          <a:xfrm>
            <a:off x="6037088" y="2699507"/>
            <a:ext cx="1771399" cy="1473578"/>
          </a:xfrm>
          <a:prstGeom prst="rect">
            <a:avLst/>
          </a:prstGeom>
        </p:spPr>
      </p:pic>
      <p:pic>
        <p:nvPicPr>
          <p:cNvPr id="13" name="Picture 1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D9A9531D-311B-4645-92FC-7D5059982A8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13" t="18111" r="30333" b="32800"/>
          <a:stretch/>
        </p:blipFill>
        <p:spPr>
          <a:xfrm>
            <a:off x="7372725" y="5061142"/>
            <a:ext cx="1828711" cy="12398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83942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54904">
        <p:fade/>
      </p:transition>
    </mc:Choice>
    <mc:Fallback xmlns="">
      <p:transition spd="med" advTm="15490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reak-fix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65099" y="3795785"/>
            <a:ext cx="3277436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>
                <a:solidFill>
                  <a:schemeClr val="bg1"/>
                </a:solidFill>
              </a:rPr>
              <a:t>Infrastructure/Service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C02001AC-5FB0-40B2-8C29-462FB4A53E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7408874"/>
              </p:ext>
            </p:extLst>
          </p:nvPr>
        </p:nvGraphicFramePr>
        <p:xfrm>
          <a:off x="5104548" y="1578220"/>
          <a:ext cx="6118060" cy="34119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18276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9000">
        <p:fade/>
      </p:transition>
    </mc:Choice>
    <mc:Fallback xmlns="">
      <p:transition spd="med" advTm="69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027017B-F8B2-462F-93EF-0BD850EA5E9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dgm id="{1027017B-F8B2-462F-93EF-0BD850EA5E9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FA8DB0F-8382-4276-B2B2-73C53B6762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graphicEl>
                                              <a:dgm id="{DFA8DB0F-8382-4276-B2B2-73C53B67627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B127AEC-645E-4F25-AC32-48DD9054100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graphicEl>
                                              <a:dgm id="{1B127AEC-645E-4F25-AC32-48DD9054100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763AE3A-75C4-418E-A338-9E01B0C7E51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graphicEl>
                                              <a:dgm id="{A763AE3A-75C4-418E-A338-9E01B0C7E51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C876FB0-59DB-47C3-8E65-8EC713B5997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>
                                            <p:graphicEl>
                                              <a:dgm id="{CC876FB0-59DB-47C3-8E65-8EC713B5997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00C9387-00D1-4FAF-A636-A120B566F6F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>
                                            <p:graphicEl>
                                              <a:dgm id="{800C9387-00D1-4FAF-A636-A120B566F6F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3B561D0-EBFE-4A43-8C58-B8F95E05781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>
                                            <p:graphicEl>
                                              <a:dgm id="{63B561D0-EBFE-4A43-8C58-B8F95E05781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D86C70D-EDB2-4992-A62F-1BF2A641F06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graphicEl>
                                              <a:dgm id="{2D86C70D-EDB2-4992-A62F-1BF2A641F06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reak-fix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65099" y="3795785"/>
            <a:ext cx="1309461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>
                <a:solidFill>
                  <a:schemeClr val="bg1"/>
                </a:solidFill>
              </a:rPr>
              <a:t>Project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C06A87C5-51E8-4715-A299-B0F57D893D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8640254"/>
              </p:ext>
            </p:extLst>
          </p:nvPr>
        </p:nvGraphicFramePr>
        <p:xfrm>
          <a:off x="5040627" y="999062"/>
          <a:ext cx="7256245" cy="52474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15098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3239">
        <p:fade/>
      </p:transition>
    </mc:Choice>
    <mc:Fallback xmlns="">
      <p:transition spd="med" advTm="6323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DB85417-D219-4231-842A-2B59B33CFFF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dgm id="{9DB85417-D219-4231-842A-2B59B33CFFF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10C6A6F-9E02-4031-BD26-7ADB1DDE49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graphicEl>
                                              <a:dgm id="{C10C6A6F-9E02-4031-BD26-7ADB1DDE497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BF3C64D-6082-4795-8976-D3C1CD696FE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graphicEl>
                                              <a:dgm id="{3BF3C64D-6082-4795-8976-D3C1CD696FE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FF8DF34-83C1-4AC2-ADD1-5B66418D74E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graphicEl>
                                              <a:dgm id="{1FF8DF34-83C1-4AC2-ADD1-5B66418D74E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062711C-88ED-4979-BAE5-F8D14443EAA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>
                                            <p:graphicEl>
                                              <a:dgm id="{8062711C-88ED-4979-BAE5-F8D14443EAA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BB3597E-2C02-493F-98E5-CCFE3FFED3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>
                                            <p:graphicEl>
                                              <a:dgm id="{5BB3597E-2C02-493F-98E5-CCFE3FFED3F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73D7133-335D-4DF1-BDC2-9210287CDCC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>
                                            <p:graphicEl>
                                              <a:dgm id="{A73D7133-335D-4DF1-BDC2-9210287CDCC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A4E6819-1246-425D-AF52-5B792C5D42D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graphicEl>
                                              <a:dgm id="{4A4E6819-1246-425D-AF52-5B792C5D42D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5B1A47E-E599-4241-A418-75395BCCE86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>
                                            <p:graphicEl>
                                              <a:dgm id="{15B1A47E-E599-4241-A418-75395BCCE86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07D6FAC-FDA4-4DD5-ACF7-621BE3A6B49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">
                                            <p:graphicEl>
                                              <a:dgm id="{207D6FAC-FDA4-4DD5-ACF7-621BE3A6B49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000" dirty="0"/>
              <a:t>Minor Enhancements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C64D24D1-4D29-4BD4-A411-DAAC528A8A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4643959"/>
              </p:ext>
            </p:extLst>
          </p:nvPr>
        </p:nvGraphicFramePr>
        <p:xfrm>
          <a:off x="4820092" y="778933"/>
          <a:ext cx="7206808" cy="57121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9375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3837">
        <p:fade/>
      </p:transition>
    </mc:Choice>
    <mc:Fallback xmlns="">
      <p:transition spd="med" advTm="4383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EEF91EF-E637-4A3B-9973-3222CE29C67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EEEF91EF-E637-4A3B-9973-3222CE29C67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A705847B-954C-4C3F-B782-C4F0EA095F1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graphicEl>
                                              <a:dgm id="{A705847B-954C-4C3F-B782-C4F0EA095F1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E30970E-74A7-4662-8135-0068221A595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graphicEl>
                                              <a:dgm id="{9E30970E-74A7-4662-8135-0068221A595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39ED4B0-A381-4187-AEEC-874E445597A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graphicEl>
                                              <a:dgm id="{939ED4B0-A381-4187-AEEC-874E445597A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B215504-0BF6-4158-B313-08809C559D1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graphicEl>
                                              <a:dgm id="{FB215504-0BF6-4158-B313-08809C559D1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6B4B84AF-FD42-4F51-BDC4-C7079030BFC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graphicEl>
                                              <a:dgm id="{6B4B84AF-FD42-4F51-BDC4-C7079030BFC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F4CB91D-82F6-419C-8420-CBAF0D410B4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graphicEl>
                                              <a:dgm id="{7F4CB91D-82F6-419C-8420-CBAF0D410B4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035022B-B9B6-44C0-9A76-90CD903366F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">
                                            <p:graphicEl>
                                              <a:dgm id="{1035022B-B9B6-44C0-9A76-90CD903366F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FD125EA-DA17-43FA-A799-F735ED09E3D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">
                                            <p:graphicEl>
                                              <a:dgm id="{BFD125EA-DA17-43FA-A799-F735ED09E3D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83DDB81C-19DF-4809-AF57-E1802AE7992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>
                                            <p:graphicEl>
                                              <a:dgm id="{83DDB81C-19DF-4809-AF57-E1802AE7992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Dgm bld="one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Enablement</a:t>
            </a:r>
            <a:endParaRPr lang="en-GB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1E7E3D4C-6194-44E7-A6C4-85683757E1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0654826"/>
              </p:ext>
            </p:extLst>
          </p:nvPr>
        </p:nvGraphicFramePr>
        <p:xfrm>
          <a:off x="4876618" y="746858"/>
          <a:ext cx="6805612" cy="61111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4817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32161">
        <p:fade/>
      </p:transition>
    </mc:Choice>
    <mc:Fallback xmlns="">
      <p:transition spd="med" advTm="13216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8F02834-CBCB-4F20-9081-85244501EA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98F02834-CBCB-4F20-9081-85244501EA6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A559F53-78CD-4C94-AEFC-3E2E9AC66C9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graphicEl>
                                              <a:dgm id="{9A559F53-78CD-4C94-AEFC-3E2E9AC66C9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06A71E-14FA-47EC-8FB2-4D2FDD190E8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graphicEl>
                                              <a:dgm id="{FF06A71E-14FA-47EC-8FB2-4D2FDD190E8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94A0456-5643-4D9D-8AD4-1415FD37B23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graphicEl>
                                              <a:dgm id="{F94A0456-5643-4D9D-8AD4-1415FD37B23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6275ED5-7C28-4C1F-869C-8E9DDDE9C9D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graphicEl>
                                              <a:dgm id="{56275ED5-7C28-4C1F-869C-8E9DDDE9C9D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8AE9A74B-8193-42E5-9DD3-04AF11B31DF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>
                                            <p:graphicEl>
                                              <a:dgm id="{8AE9A74B-8193-42E5-9DD3-04AF11B31DF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FCACA5A-A395-4758-8AC1-B69EA240641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>
                                            <p:graphicEl>
                                              <a:dgm id="{2FCACA5A-A395-4758-8AC1-B69EA240641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26237FF-AC1D-446F-8B49-8F44033CB53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">
                                            <p:graphicEl>
                                              <a:dgm id="{F26237FF-AC1D-446F-8B49-8F44033CB53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reak-fix / Minor Enhancements</a:t>
            </a:r>
            <a:br>
              <a:rPr lang="en-GB"/>
            </a:br>
            <a:r>
              <a:rPr lang="en-GB"/>
              <a:t>Options</a:t>
            </a:r>
            <a:endParaRPr lang="en-GB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45854C92-6347-46C4-A58F-6AAE1DB9A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7685279"/>
              </p:ext>
            </p:extLst>
          </p:nvPr>
        </p:nvGraphicFramePr>
        <p:xfrm>
          <a:off x="5104005" y="1329864"/>
          <a:ext cx="6748787" cy="39834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13427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78767">
        <p:fade/>
      </p:transition>
    </mc:Choice>
    <mc:Fallback xmlns="">
      <p:transition spd="med" advTm="7876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D98D9C7C-456B-46DE-AAAF-558FD4A7C43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D98D9C7C-456B-46DE-AAAF-558FD4A7C43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AE326432-8F77-4ECD-86FF-5315045F74A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graphicEl>
                                              <a:dgm id="{AE326432-8F77-4ECD-86FF-5315045F74A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7B55514-930C-4C83-B209-4863489C152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graphicEl>
                                              <a:dgm id="{97B55514-930C-4C83-B209-4863489C152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6158A5B-F572-4511-A44B-839CE2C37E9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graphicEl>
                                              <a:dgm id="{96158A5B-F572-4511-A44B-839CE2C37E9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F4C87AC-510F-4C92-9752-6070B67765A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graphicEl>
                                              <a:dgm id="{BF4C87AC-510F-4C92-9752-6070B67765A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94EDD0F-AB4B-4FEF-BD77-351D6288B8A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>
                                            <p:graphicEl>
                                              <a:dgm id="{994EDD0F-AB4B-4FEF-BD77-351D6288B8A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20E6410-8B6A-4935-91C4-AFE704E4454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>
                                            <p:graphicEl>
                                              <a:dgm id="{E20E6410-8B6A-4935-91C4-AFE704E4454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447CAD45-7BB4-4A31-9EE3-D038B809AE2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">
                                            <p:graphicEl>
                                              <a:dgm id="{447CAD45-7BB4-4A31-9EE3-D038B809AE2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051F06A-A961-4182-A72D-9B6A9B56103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">
                                            <p:graphicEl>
                                              <a:dgm id="{5051F06A-A961-4182-A72D-9B6A9B56103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03D2AAE9-9095-41FF-8026-EE8630118A3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">
                                            <p:graphicEl>
                                              <a:dgm id="{03D2AAE9-9095-41FF-8026-EE8630118A3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Dgm bld="one"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ablement Option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65099" y="4294354"/>
            <a:ext cx="1401859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>
                <a:solidFill>
                  <a:schemeClr val="bg1"/>
                </a:solidFill>
              </a:rPr>
              <a:t>Interna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C5375A2-730E-4281-9852-FBFBA8BCFBB9}"/>
              </a:ext>
            </a:extLst>
          </p:cNvPr>
          <p:cNvSpPr/>
          <p:nvPr/>
        </p:nvSpPr>
        <p:spPr>
          <a:xfrm>
            <a:off x="5081968" y="1211688"/>
            <a:ext cx="6944932" cy="4046068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sz="3200" dirty="0"/>
              <a:t>Centre of Excellence</a:t>
            </a:r>
          </a:p>
          <a:p>
            <a:pPr lvl="0">
              <a:lnSpc>
                <a:spcPct val="150000"/>
              </a:lnSpc>
            </a:pPr>
            <a:r>
              <a:rPr lang="en-GB" sz="3200" baseline="0" dirty="0"/>
              <a:t>Dedicated Power BI Enablement team</a:t>
            </a:r>
            <a:endParaRPr lang="en-GB" sz="3200" dirty="0"/>
          </a:p>
          <a:p>
            <a:pPr>
              <a:lnSpc>
                <a:spcPct val="150000"/>
              </a:lnSpc>
            </a:pPr>
            <a:r>
              <a:rPr lang="en-GB" sz="3200" dirty="0"/>
              <a:t>Lunch &amp; Learn / Office hours</a:t>
            </a:r>
          </a:p>
          <a:p>
            <a:pPr>
              <a:lnSpc>
                <a:spcPct val="150000"/>
              </a:lnSpc>
            </a:pPr>
            <a:r>
              <a:rPr lang="en-GB" sz="3200" dirty="0"/>
              <a:t>Internal website</a:t>
            </a:r>
          </a:p>
          <a:p>
            <a:pPr>
              <a:lnSpc>
                <a:spcPct val="150000"/>
              </a:lnSpc>
            </a:pPr>
            <a:r>
              <a:rPr lang="en-GB" sz="3200" dirty="0"/>
              <a:t>Ongoing trainings</a:t>
            </a:r>
          </a:p>
          <a:p>
            <a:pPr lvl="0">
              <a:lnSpc>
                <a:spcPct val="150000"/>
              </a:lnSpc>
            </a:pPr>
            <a:r>
              <a:rPr lang="en-GB" sz="3200" dirty="0"/>
              <a:t>Advisory Service</a:t>
            </a:r>
          </a:p>
        </p:txBody>
      </p:sp>
    </p:spTree>
    <p:extLst>
      <p:ext uri="{BB962C8B-B14F-4D97-AF65-F5344CB8AC3E}">
        <p14:creationId xmlns:p14="http://schemas.microsoft.com/office/powerpoint/2010/main" val="187536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8574">
        <p:fade/>
      </p:transition>
    </mc:Choice>
    <mc:Fallback xmlns="">
      <p:transition spd="med" advTm="58574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Enablement Option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65099" y="4294354"/>
            <a:ext cx="1948290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2400">
                <a:solidFill>
                  <a:schemeClr val="bg1"/>
                </a:solidFill>
              </a:rPr>
              <a:t>Communit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8F4FBD7-FD95-45E5-AC65-5CCB7288C325}"/>
              </a:ext>
            </a:extLst>
          </p:cNvPr>
          <p:cNvSpPr/>
          <p:nvPr/>
        </p:nvSpPr>
        <p:spPr>
          <a:xfrm>
            <a:off x="4302369" y="99374"/>
            <a:ext cx="7889631" cy="3732136"/>
          </a:xfrm>
          <a:prstGeom prst="rect">
            <a:avLst/>
          </a:prstGeom>
        </p:spPr>
        <p:txBody>
          <a:bodyPr/>
          <a:lstStyle/>
          <a:p>
            <a:pPr lvl="0">
              <a:lnSpc>
                <a:spcPct val="150000"/>
              </a:lnSpc>
            </a:pPr>
            <a:r>
              <a:rPr lang="en-GB" sz="3200" baseline="0" dirty="0"/>
              <a:t>Power BI website, blogs, community</a:t>
            </a:r>
            <a:r>
              <a:rPr lang="en-GB" sz="3200" dirty="0"/>
              <a:t> portal</a:t>
            </a:r>
          </a:p>
          <a:p>
            <a:pPr lvl="0">
              <a:lnSpc>
                <a:spcPct val="150000"/>
              </a:lnSpc>
            </a:pPr>
            <a:r>
              <a:rPr lang="en-GB" sz="3200" baseline="0" dirty="0"/>
              <a:t>Online courses e.g. </a:t>
            </a:r>
            <a:r>
              <a:rPr lang="en-GB" sz="3200" baseline="0" dirty="0" err="1"/>
              <a:t>eDX</a:t>
            </a:r>
            <a:endParaRPr lang="en-GB" sz="3200" dirty="0"/>
          </a:p>
          <a:p>
            <a:pPr lvl="0">
              <a:lnSpc>
                <a:spcPct val="150000"/>
              </a:lnSpc>
            </a:pPr>
            <a:r>
              <a:rPr lang="en-GB" sz="3200" baseline="0" dirty="0"/>
              <a:t>YouTube Power BI videos</a:t>
            </a:r>
            <a:endParaRPr lang="en-GB" sz="3200" dirty="0"/>
          </a:p>
          <a:p>
            <a:pPr lvl="0">
              <a:lnSpc>
                <a:spcPct val="150000"/>
              </a:lnSpc>
            </a:pPr>
            <a:r>
              <a:rPr lang="en-GB" sz="3200" baseline="0" dirty="0"/>
              <a:t>Guy in a cube</a:t>
            </a:r>
          </a:p>
          <a:p>
            <a:pPr lvl="0">
              <a:lnSpc>
                <a:spcPct val="150000"/>
              </a:lnSpc>
            </a:pPr>
            <a:r>
              <a:rPr lang="en-GB" sz="3200" dirty="0"/>
              <a:t>Power BI User Groups</a:t>
            </a:r>
          </a:p>
          <a:p>
            <a:pPr lvl="0">
              <a:lnSpc>
                <a:spcPct val="150000"/>
              </a:lnSpc>
            </a:pPr>
            <a:r>
              <a:rPr lang="en-GB" sz="3200" baseline="0" dirty="0"/>
              <a:t>Community websites, blogs: </a:t>
            </a:r>
          </a:p>
          <a:p>
            <a:pPr lvl="0">
              <a:lnSpc>
                <a:spcPct val="150000"/>
              </a:lnSpc>
            </a:pPr>
            <a:r>
              <a:rPr lang="en-GB" sz="3200" baseline="0" dirty="0"/>
              <a:t>	</a:t>
            </a:r>
            <a:r>
              <a:rPr lang="en-GB" sz="2400" baseline="0" dirty="0"/>
              <a:t>DAX Patterns</a:t>
            </a:r>
          </a:p>
          <a:p>
            <a:pPr lvl="0">
              <a:lnSpc>
                <a:spcPct val="150000"/>
              </a:lnSpc>
            </a:pPr>
            <a:r>
              <a:rPr lang="en-GB" sz="2400" baseline="0" dirty="0"/>
              <a:t>	Power Pivot Pro</a:t>
            </a:r>
          </a:p>
          <a:p>
            <a:pPr lvl="0">
              <a:lnSpc>
                <a:spcPct val="150000"/>
              </a:lnSpc>
            </a:pPr>
            <a:r>
              <a:rPr lang="en-GB" sz="2400" baseline="0" dirty="0"/>
              <a:t>	Chris Webb’s blog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480242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86545">
        <p:fade/>
      </p:transition>
    </mc:Choice>
    <mc:Fallback xmlns="">
      <p:transition spd="med" advTm="86545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38.4|24.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1|11|17.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9|12|11.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3|15.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8|42.1|29|20.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.1|37.8|8.5|9.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6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 BI Template" id="{35F462F2-A35D-42EA-BBC1-6CE7CD01B7EC}" vid="{A8C6A49B-C10D-424B-860C-81981533EC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ppt/theme/themeOverride2.xml><?xml version="1.0" encoding="utf-8"?>
<a:themeOverride xmlns:a="http://schemas.openxmlformats.org/drawingml/2006/main">
  <a:clrScheme name="Grayscale">
    <a:dk1>
      <a:sysClr val="windowText" lastClr="000000"/>
    </a:dk1>
    <a:lt1>
      <a:sysClr val="window" lastClr="FFFFFF"/>
    </a:lt1>
    <a:dk2>
      <a:srgbClr val="000000"/>
    </a:dk2>
    <a:lt2>
      <a:srgbClr val="F8F8F8"/>
    </a:lt2>
    <a:accent1>
      <a:srgbClr val="DDDDDD"/>
    </a:accent1>
    <a:accent2>
      <a:srgbClr val="B2B2B2"/>
    </a:accent2>
    <a:accent3>
      <a:srgbClr val="969696"/>
    </a:accent3>
    <a:accent4>
      <a:srgbClr val="808080"/>
    </a:accent4>
    <a:accent5>
      <a:srgbClr val="5F5F5F"/>
    </a:accent5>
    <a:accent6>
      <a:srgbClr val="4D4D4D"/>
    </a:accent6>
    <a:hlink>
      <a:srgbClr val="5F5F5F"/>
    </a:hlink>
    <a:folHlink>
      <a:srgbClr val="91919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7" ma:contentTypeDescription="Create a new document." ma:contentTypeScope="" ma:versionID="385892ca22301f732aa61e9e24b0427a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524886d73bd9f25fcf95cbf5af8c08e0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DA0190D-5630-400F-9C90-7089828AFF38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0</Words>
  <Application>Microsoft Office PowerPoint</Application>
  <PresentationFormat>Widescreen</PresentationFormat>
  <Paragraphs>78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think-cell Slide</vt:lpstr>
      <vt:lpstr>Power BI Adoption Framework</vt:lpstr>
      <vt:lpstr>Types of Support</vt:lpstr>
      <vt:lpstr>Break-fix</vt:lpstr>
      <vt:lpstr>Break-fix</vt:lpstr>
      <vt:lpstr>Minor Enhancements</vt:lpstr>
      <vt:lpstr>Enablement</vt:lpstr>
      <vt:lpstr>Break-fix / Minor Enhancements Options</vt:lpstr>
      <vt:lpstr>Enablement Options</vt:lpstr>
      <vt:lpstr>Enablement Options</vt:lpstr>
      <vt:lpstr>What do you need to consider when someone starts / changes role?</vt:lpstr>
      <vt:lpstr>What level of support will you give users?</vt:lpstr>
      <vt:lpstr>Who will support Power BI?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 BI  Self-Service BI Roll Out</dc:title>
  <dc:creator/>
  <cp:lastModifiedBy/>
  <cp:revision>1</cp:revision>
  <dcterms:modified xsi:type="dcterms:W3CDTF">2019-11-08T18:1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37B333D9039F42B4A841E7D21AD3E7</vt:lpwstr>
  </property>
  <property fmtid="{D5CDD505-2E9C-101B-9397-08002B2CF9AE}" pid="3" name="p1cd454bacc149bfbcfd764edd279de7">
    <vt:lpwstr/>
  </property>
  <property fmtid="{D5CDD505-2E9C-101B-9397-08002B2CF9AE}" pid="4" name="of67e5d4b76f4a9db8769983fda9cec0">
    <vt:lpwstr/>
  </property>
  <property fmtid="{D5CDD505-2E9C-101B-9397-08002B2CF9AE}" pid="5" name="TaxKeyword">
    <vt:lpwstr/>
  </property>
  <property fmtid="{D5CDD505-2E9C-101B-9397-08002B2CF9AE}" pid="6" name="NewsType">
    <vt:lpwstr/>
  </property>
  <property fmtid="{D5CDD505-2E9C-101B-9397-08002B2CF9AE}" pid="7" name="_dlc_policyId">
    <vt:lpwstr/>
  </property>
  <property fmtid="{D5CDD505-2E9C-101B-9397-08002B2CF9AE}" pid="8" name="Region">
    <vt:lpwstr/>
  </property>
  <property fmtid="{D5CDD505-2E9C-101B-9397-08002B2CF9AE}" pid="9" name="Confidentiality">
    <vt:lpwstr>14;#customer ready|8986c41d-21c5-4f8f-8a12-ea4625b46858</vt:lpwstr>
  </property>
  <property fmtid="{D5CDD505-2E9C-101B-9397-08002B2CF9AE}" pid="10" name="ItemType">
    <vt:lpwstr>435;#technical presentations|83a894cf-702b-47fc-aba5-41bd10dc1e75;#351;#feedback requests|00ce1828-98a3-430e-af54-eda270e1be04</vt:lpwstr>
  </property>
  <property fmtid="{D5CDD505-2E9C-101B-9397-08002B2CF9AE}" pid="11" name="bc28b5f076654a3b96073bbbebfeb8c9">
    <vt:lpwstr/>
  </property>
  <property fmtid="{D5CDD505-2E9C-101B-9397-08002B2CF9AE}" pid="12" name="ga0c0bf70a6644469c61b3efa7025301">
    <vt:lpwstr/>
  </property>
  <property fmtid="{D5CDD505-2E9C-101B-9397-08002B2CF9AE}" pid="13" name="Industries">
    <vt:lpwstr/>
  </property>
  <property fmtid="{D5CDD505-2E9C-101B-9397-08002B2CF9AE}" pid="14" name="MSProducts">
    <vt:lpwstr/>
  </property>
  <property fmtid="{D5CDD505-2E9C-101B-9397-08002B2CF9AE}" pid="15" name="j4d667fb28274e85b2214f6e751c8d1f">
    <vt:lpwstr/>
  </property>
  <property fmtid="{D5CDD505-2E9C-101B-9397-08002B2CF9AE}" pid="16" name="Competitors">
    <vt:lpwstr/>
  </property>
  <property fmtid="{D5CDD505-2E9C-101B-9397-08002B2CF9AE}" pid="17" name="SMSGDomain">
    <vt:lpwstr>82;#SQL Server Domain|0c0f1824-39dc-4b26-8c74-eff4364b812b;#22;#Server and Tools Business|6783548d-8609-4f97-be4a-4ca2616905a6</vt:lpwstr>
  </property>
  <property fmtid="{D5CDD505-2E9C-101B-9397-08002B2CF9AE}" pid="18" name="ExperienceContentType">
    <vt:lpwstr/>
  </property>
  <property fmtid="{D5CDD505-2E9C-101B-9397-08002B2CF9AE}" pid="19" name="BusinessArchitecture">
    <vt:lpwstr>231;#business intelligence|e1f9659f-bde9-4479-81f9-2bc6e8ec0057;#166;#Power BI solution|a774047b-2f39-4ee6-a302-4d53f94b9400</vt:lpwstr>
  </property>
  <property fmtid="{D5CDD505-2E9C-101B-9397-08002B2CF9AE}" pid="20" name="j031aa32f4154c8c9a646efae715ebde">
    <vt:lpwstr/>
  </property>
  <property fmtid="{D5CDD505-2E9C-101B-9397-08002B2CF9AE}" pid="21" name="Products">
    <vt:lpwstr>73;#Microsoft SQL Server|261ba873-f3ab-420e-96d6-e3004596a551;#598;#Microsoft SQL Server Business Intelligence|9ffb7045-1f1b-41c0-987f-ffdc7c6f53c0</vt:lpwstr>
  </property>
  <property fmtid="{D5CDD505-2E9C-101B-9397-08002B2CF9AE}" pid="22" name="ContentExtensions">
    <vt:lpwstr/>
  </property>
  <property fmtid="{D5CDD505-2E9C-101B-9397-08002B2CF9AE}" pid="23" name="WorkflowChangePath">
    <vt:lpwstr>4c942473-d120-4286-a51a-b65ad3d92ffb,2;4c942473-d120-4286-a51a-b65ad3d92ffb,2;4c942473-d120-4286-a51a-b65ad3d92ffb,2;4c942473-d120-4286-a51a-b65ad3d92ffb,2;4c942473-d120-4286-a51a-b65ad3d92ffb,16;4c942473-d120-4286-a51a-b65ad3d92ffb,20;4c942473-d120-4286-</vt:lpwstr>
  </property>
  <property fmtid="{D5CDD505-2E9C-101B-9397-08002B2CF9AE}" pid="24" name="l6f004f21209409da86a713c0f24627d">
    <vt:lpwstr/>
  </property>
  <property fmtid="{D5CDD505-2E9C-101B-9397-08002B2CF9AE}" pid="25" name="MSProductsTaxHTField0">
    <vt:lpwstr/>
  </property>
  <property fmtid="{D5CDD505-2E9C-101B-9397-08002B2CF9AE}" pid="26" name="Topics">
    <vt:lpwstr/>
  </property>
  <property fmtid="{D5CDD505-2E9C-101B-9397-08002B2CF9AE}" pid="27" name="Groups">
    <vt:lpwstr>399;#SQL Server Marketing|bb7921b3-c1d8-4da4-b894-8b6075d9546d;#42;#Cloud and Enterprise Marketing Group|4f75e184-e5aa-4234-a07f-b032d60df254</vt:lpwstr>
  </property>
  <property fmtid="{D5CDD505-2E9C-101B-9397-08002B2CF9AE}" pid="28" name="_docset_NoMedatataSyncRequired">
    <vt:lpwstr>False</vt:lpwstr>
  </property>
  <property fmtid="{D5CDD505-2E9C-101B-9397-08002B2CF9AE}" pid="29" name="MSLanguage">
    <vt:lpwstr/>
  </property>
  <property fmtid="{D5CDD505-2E9C-101B-9397-08002B2CF9AE}" pid="30" name="e8080b0481964c759b2c36ae49591b31">
    <vt:lpwstr/>
  </property>
  <property fmtid="{D5CDD505-2E9C-101B-9397-08002B2CF9AE}" pid="31" name="Languages">
    <vt:lpwstr/>
  </property>
  <property fmtid="{D5CDD505-2E9C-101B-9397-08002B2CF9AE}" pid="32" name="messageframeworktype">
    <vt:lpwstr/>
  </property>
  <property fmtid="{D5CDD505-2E9C-101B-9397-08002B2CF9AE}" pid="33" name="cb7870d3641f4a52807a63577a9c1b08">
    <vt:lpwstr/>
  </property>
  <property fmtid="{D5CDD505-2E9C-101B-9397-08002B2CF9AE}" pid="34" name="TechnicalLevel">
    <vt:lpwstr/>
  </property>
  <property fmtid="{D5CDD505-2E9C-101B-9397-08002B2CF9AE}" pid="35" name="Audiences">
    <vt:lpwstr/>
  </property>
  <property fmtid="{D5CDD505-2E9C-101B-9397-08002B2CF9AE}" pid="36" name="LearningOrganization">
    <vt:lpwstr/>
  </property>
  <property fmtid="{D5CDD505-2E9C-101B-9397-08002B2CF9AE}" pid="37" name="ldac8aee9d1f469e8cd8c3f8d6a615f2">
    <vt:lpwstr/>
  </property>
  <property fmtid="{D5CDD505-2E9C-101B-9397-08002B2CF9AE}" pid="38" name="EmployeeRole">
    <vt:lpwstr/>
  </property>
  <property fmtid="{D5CDD505-2E9C-101B-9397-08002B2CF9AE}" pid="39" name="NewsTopic">
    <vt:lpwstr/>
  </property>
  <property fmtid="{D5CDD505-2E9C-101B-9397-08002B2CF9AE}" pid="40" name="SalesGeography">
    <vt:lpwstr/>
  </property>
  <property fmtid="{D5CDD505-2E9C-101B-9397-08002B2CF9AE}" pid="41" name="LearningDeliveryMethod">
    <vt:lpwstr/>
  </property>
  <property fmtid="{D5CDD505-2E9C-101B-9397-08002B2CF9AE}" pid="42" name="Roles">
    <vt:lpwstr/>
  </property>
  <property fmtid="{D5CDD505-2E9C-101B-9397-08002B2CF9AE}" pid="43" name="ItemRetentionFormula">
    <vt:lpwstr/>
  </property>
  <property fmtid="{D5CDD505-2E9C-101B-9397-08002B2CF9AE}" pid="44" name="NewsSource">
    <vt:lpwstr/>
  </property>
  <property fmtid="{D5CDD505-2E9C-101B-9397-08002B2CF9AE}" pid="45" name="SMSGTags">
    <vt:lpwstr/>
  </property>
  <property fmtid="{D5CDD505-2E9C-101B-9397-08002B2CF9AE}" pid="46" name="_dlc_DocIdItemGuid">
    <vt:lpwstr>07721352-f0bf-41fc-8da7-ba3749a88128</vt:lpwstr>
  </property>
  <property fmtid="{D5CDD505-2E9C-101B-9397-08002B2CF9AE}" pid="47" name="MSPhysicalGeography">
    <vt:lpwstr/>
  </property>
  <property fmtid="{D5CDD505-2E9C-101B-9397-08002B2CF9AE}" pid="48" name="l311460e3fdf46688abc31ddb7bdc05a">
    <vt:lpwstr/>
  </property>
  <property fmtid="{D5CDD505-2E9C-101B-9397-08002B2CF9AE}" pid="49" name="EnterpriseDomainTags">
    <vt:lpwstr/>
  </property>
  <property fmtid="{D5CDD505-2E9C-101B-9397-08002B2CF9AE}" pid="50" name="j3562c58ee414e028925bc902cfc01a1">
    <vt:lpwstr/>
  </property>
  <property fmtid="{D5CDD505-2E9C-101B-9397-08002B2CF9AE}" pid="51" name="ActivitiesAndPrograms">
    <vt:lpwstr/>
  </property>
  <property fmtid="{D5CDD505-2E9C-101B-9397-08002B2CF9AE}" pid="52" name="Segments">
    <vt:lpwstr/>
  </property>
  <property fmtid="{D5CDD505-2E9C-101B-9397-08002B2CF9AE}" pid="53" name="Partners">
    <vt:lpwstr/>
  </property>
  <property fmtid="{D5CDD505-2E9C-101B-9397-08002B2CF9AE}" pid="54" name="la4444b61d19467597d63190b69ac227">
    <vt:lpwstr/>
  </property>
  <property fmtid="{D5CDD505-2E9C-101B-9397-08002B2CF9AE}" pid="55" name="SharedWithUsers">
    <vt:lpwstr>63906;#Hui Jeng Lee (Alfa Connections Pte Ltd)</vt:lpwstr>
  </property>
  <property fmtid="{D5CDD505-2E9C-101B-9397-08002B2CF9AE}" pid="56" name="MSIP_Label_f42aa342-8706-4288-bd11-ebb85995028c_Enabled">
    <vt:lpwstr>True</vt:lpwstr>
  </property>
  <property fmtid="{D5CDD505-2E9C-101B-9397-08002B2CF9AE}" pid="57" name="MSIP_Label_f42aa342-8706-4288-bd11-ebb85995028c_SiteId">
    <vt:lpwstr>72f988bf-86f1-41af-91ab-2d7cd011db47</vt:lpwstr>
  </property>
  <property fmtid="{D5CDD505-2E9C-101B-9397-08002B2CF9AE}" pid="58" name="MSIP_Label_f42aa342-8706-4288-bd11-ebb85995028c_Ref">
    <vt:lpwstr>https://api.informationprotection.azure.com/api/72f988bf-86f1-41af-91ab-2d7cd011db47</vt:lpwstr>
  </property>
  <property fmtid="{D5CDD505-2E9C-101B-9397-08002B2CF9AE}" pid="59" name="MSIP_Label_f42aa342-8706-4288-bd11-ebb85995028c_Owner">
    <vt:lpwstr>makanw@microsoft.com</vt:lpwstr>
  </property>
  <property fmtid="{D5CDD505-2E9C-101B-9397-08002B2CF9AE}" pid="60" name="MSIP_Label_f42aa342-8706-4288-bd11-ebb85995028c_SetDate">
    <vt:lpwstr>2017-10-10T13:23:32.9628937+01:00</vt:lpwstr>
  </property>
  <property fmtid="{D5CDD505-2E9C-101B-9397-08002B2CF9AE}" pid="61" name="MSIP_Label_f42aa342-8706-4288-bd11-ebb85995028c_Name">
    <vt:lpwstr>General</vt:lpwstr>
  </property>
  <property fmtid="{D5CDD505-2E9C-101B-9397-08002B2CF9AE}" pid="62" name="MSIP_Label_f42aa342-8706-4288-bd11-ebb85995028c_Application">
    <vt:lpwstr>Microsoft Azure Information Protection</vt:lpwstr>
  </property>
  <property fmtid="{D5CDD505-2E9C-101B-9397-08002B2CF9AE}" pid="63" name="MSIP_Label_f42aa342-8706-4288-bd11-ebb85995028c_Extended_MSFT_Method">
    <vt:lpwstr>Automatic</vt:lpwstr>
  </property>
  <property fmtid="{D5CDD505-2E9C-101B-9397-08002B2CF9AE}" pid="64" name="Sensitivity">
    <vt:lpwstr>General</vt:lpwstr>
  </property>
  <property fmtid="{D5CDD505-2E9C-101B-9397-08002B2CF9AE}" pid="65" name="AuthorIds_UIVersion_3072">
    <vt:lpwstr>10</vt:lpwstr>
  </property>
</Properties>
</file>